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62.jpg" ContentType="image/png"/>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909" r:id="rId10"/>
    <p:sldMasterId id="2147483997" r:id="rId11"/>
  </p:sldMasterIdLst>
  <p:notesMasterIdLst>
    <p:notesMasterId r:id="rId77"/>
  </p:notesMasterIdLst>
  <p:sldIdLst>
    <p:sldId id="9785" r:id="rId12"/>
    <p:sldId id="256" r:id="rId13"/>
    <p:sldId id="9752" r:id="rId14"/>
    <p:sldId id="9751" r:id="rId15"/>
    <p:sldId id="9771" r:id="rId16"/>
    <p:sldId id="9788" r:id="rId17"/>
    <p:sldId id="9743" r:id="rId18"/>
    <p:sldId id="312" r:id="rId19"/>
    <p:sldId id="4479" r:id="rId20"/>
    <p:sldId id="9745" r:id="rId21"/>
    <p:sldId id="9768" r:id="rId22"/>
    <p:sldId id="9780" r:id="rId23"/>
    <p:sldId id="648" r:id="rId24"/>
    <p:sldId id="9741" r:id="rId25"/>
    <p:sldId id="9740" r:id="rId26"/>
    <p:sldId id="1566" r:id="rId27"/>
    <p:sldId id="9737" r:id="rId28"/>
    <p:sldId id="1882" r:id="rId29"/>
    <p:sldId id="261" r:id="rId30"/>
    <p:sldId id="283" r:id="rId31"/>
    <p:sldId id="263" r:id="rId32"/>
    <p:sldId id="4510" r:id="rId33"/>
    <p:sldId id="264" r:id="rId34"/>
    <p:sldId id="265" r:id="rId35"/>
    <p:sldId id="9793" r:id="rId36"/>
    <p:sldId id="9772" r:id="rId37"/>
    <p:sldId id="9799" r:id="rId38"/>
    <p:sldId id="9789" r:id="rId39"/>
    <p:sldId id="8344" r:id="rId40"/>
    <p:sldId id="9739" r:id="rId41"/>
    <p:sldId id="4552" r:id="rId42"/>
    <p:sldId id="9794" r:id="rId43"/>
    <p:sldId id="9790" r:id="rId44"/>
    <p:sldId id="2315" r:id="rId45"/>
    <p:sldId id="1875" r:id="rId46"/>
    <p:sldId id="9744" r:id="rId47"/>
    <p:sldId id="1817" r:id="rId48"/>
    <p:sldId id="275" r:id="rId49"/>
    <p:sldId id="2794" r:id="rId50"/>
    <p:sldId id="1873" r:id="rId51"/>
    <p:sldId id="9795" r:id="rId52"/>
    <p:sldId id="9782" r:id="rId53"/>
    <p:sldId id="9800" r:id="rId54"/>
    <p:sldId id="9786" r:id="rId55"/>
    <p:sldId id="8219" r:id="rId56"/>
    <p:sldId id="2318" r:id="rId57"/>
    <p:sldId id="307" r:id="rId58"/>
    <p:sldId id="9796" r:id="rId59"/>
    <p:sldId id="9783" r:id="rId60"/>
    <p:sldId id="9801" r:id="rId61"/>
    <p:sldId id="9791" r:id="rId62"/>
    <p:sldId id="409" r:id="rId63"/>
    <p:sldId id="3719" r:id="rId64"/>
    <p:sldId id="4502" r:id="rId65"/>
    <p:sldId id="4501" r:id="rId66"/>
    <p:sldId id="4499" r:id="rId67"/>
    <p:sldId id="8343" r:id="rId68"/>
    <p:sldId id="4512" r:id="rId69"/>
    <p:sldId id="4500" r:id="rId70"/>
    <p:sldId id="302" r:id="rId71"/>
    <p:sldId id="9792" r:id="rId72"/>
    <p:sldId id="9787" r:id="rId73"/>
    <p:sldId id="9798" r:id="rId74"/>
    <p:sldId id="9736" r:id="rId75"/>
    <p:sldId id="4550" r:id="rId7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9785"/>
            <p14:sldId id="256"/>
            <p14:sldId id="9752"/>
            <p14:sldId id="9751"/>
            <p14:sldId id="9771"/>
          </p14:sldIdLst>
        </p14:section>
        <p14:section name="Azure Governance" id="{89003D9B-AC4A-41DA-BF9A-35157AAFE2EE}">
          <p14:sldIdLst>
            <p14:sldId id="9788"/>
            <p14:sldId id="9743"/>
            <p14:sldId id="312"/>
            <p14:sldId id="4479"/>
            <p14:sldId id="9745"/>
            <p14:sldId id="9768"/>
          </p14:sldIdLst>
        </p14:section>
        <p14:section name="Enrollment + Management Groups" id="{52CC2FB9-7908-4315-B293-7C95D3678284}">
          <p14:sldIdLst>
            <p14:sldId id="9780"/>
            <p14:sldId id="648"/>
            <p14:sldId id="9741"/>
            <p14:sldId id="9740"/>
            <p14:sldId id="1566"/>
            <p14:sldId id="9737"/>
            <p14:sldId id="1882"/>
            <p14:sldId id="261"/>
            <p14:sldId id="283"/>
            <p14:sldId id="263"/>
            <p14:sldId id="4510"/>
            <p14:sldId id="264"/>
            <p14:sldId id="265"/>
            <p14:sldId id="9793"/>
            <p14:sldId id="9772"/>
            <p14:sldId id="9799"/>
          </p14:sldIdLst>
        </p14:section>
        <p14:section name="RBAC" id="{B7B48116-9E3F-43A4-B581-FCA5BE2D952D}">
          <p14:sldIdLst>
            <p14:sldId id="9789"/>
            <p14:sldId id="8344"/>
            <p14:sldId id="9739"/>
            <p14:sldId id="4552"/>
            <p14:sldId id="9794"/>
          </p14:sldIdLst>
        </p14:section>
        <p14:section name="Azure Policies" id="{ADBDE13F-CC59-478B-8FC4-EE994FBB435F}">
          <p14:sldIdLst>
            <p14:sldId id="9790"/>
            <p14:sldId id="2315"/>
            <p14:sldId id="1875"/>
            <p14:sldId id="9744"/>
            <p14:sldId id="1817"/>
            <p14:sldId id="275"/>
            <p14:sldId id="2794"/>
            <p14:sldId id="1873"/>
            <p14:sldId id="9795"/>
            <p14:sldId id="9782"/>
            <p14:sldId id="9800"/>
          </p14:sldIdLst>
        </p14:section>
        <p14:section name="BluePrints" id="{5E74F7D6-A16C-4BBE-897C-D004DED3303A}">
          <p14:sldIdLst>
            <p14:sldId id="9786"/>
            <p14:sldId id="8219"/>
            <p14:sldId id="2318"/>
            <p14:sldId id="307"/>
            <p14:sldId id="9796"/>
            <p14:sldId id="9783"/>
          </p14:sldIdLst>
        </p14:section>
        <p14:section name="Cost Management" id="{A34C947A-EBB5-4C7C-8741-A927FA6C1C0E}">
          <p14:sldIdLst>
            <p14:sldId id="9801"/>
            <p14:sldId id="9791"/>
            <p14:sldId id="409"/>
            <p14:sldId id="3719"/>
            <p14:sldId id="4502"/>
            <p14:sldId id="4501"/>
            <p14:sldId id="4499"/>
            <p14:sldId id="8343"/>
            <p14:sldId id="4512"/>
            <p14:sldId id="4500"/>
            <p14:sldId id="302"/>
            <p14:sldId id="9792"/>
            <p14:sldId id="9787"/>
            <p14:sldId id="9798"/>
          </p14:sldIdLst>
        </p14:section>
        <p14:section name="Closing" id="{1B72B707-5A32-405F-B75A-E9E194165A9B}">
          <p14:sldIdLst>
            <p14:sldId id="9736"/>
            <p14:sldId id="45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3C291B-2B87-4F6F-BC1A-546BDA1E2D28}" v="119" dt="2019-10-23T18:24:58.886"/>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14" autoAdjust="0"/>
    <p:restoredTop sz="96082" autoAdjust="0"/>
  </p:normalViewPr>
  <p:slideViewPr>
    <p:cSldViewPr snapToGrid="0">
      <p:cViewPr varScale="1">
        <p:scale>
          <a:sx n="99" d="100"/>
          <a:sy n="99" d="100"/>
        </p:scale>
        <p:origin x="72" y="172"/>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microsoft.com/office/2015/10/relationships/revisionInfo" Target="revisionInfo.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0.xml"/><Relationship Id="rId82" Type="http://schemas.openxmlformats.org/officeDocument/2006/relationships/tableStyles" Target="tableStyle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7" Type="http://schemas.openxmlformats.org/officeDocument/2006/relationships/slideMaster" Target="slideMasters/slideMaster4.xml"/><Relationship Id="rId71" Type="http://schemas.openxmlformats.org/officeDocument/2006/relationships/slide" Target="slides/slide60.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Welch" userId="4bbf8b27-f36f-4029-b936-1f4b065af9e0" providerId="ADAL" clId="{ECA9C3CA-5503-447D-9886-71BEF1A6310E}"/>
    <pc:docChg chg="undo custSel mod addSld delSld modSld sldOrd modMainMaster delSection modSection">
      <pc:chgData name="Nicole Welch" userId="4bbf8b27-f36f-4029-b936-1f4b065af9e0" providerId="ADAL" clId="{ECA9C3CA-5503-447D-9886-71BEF1A6310E}" dt="2019-10-16T20:23:43.712" v="2997" actId="20577"/>
      <pc:docMkLst>
        <pc:docMk/>
      </pc:docMkLst>
      <pc:sldChg chg="modSp add setBg">
        <pc:chgData name="Nicole Welch" userId="4bbf8b27-f36f-4029-b936-1f4b065af9e0" providerId="ADAL" clId="{ECA9C3CA-5503-447D-9886-71BEF1A6310E}" dt="2019-10-16T16:59:21.634" v="626" actId="27636"/>
        <pc:sldMkLst>
          <pc:docMk/>
          <pc:sldMk cId="1981687341" sldId="256"/>
        </pc:sldMkLst>
        <pc:spChg chg="mod">
          <ac:chgData name="Nicole Welch" userId="4bbf8b27-f36f-4029-b936-1f4b065af9e0" providerId="ADAL" clId="{ECA9C3CA-5503-447D-9886-71BEF1A6310E}" dt="2019-10-16T16:59:21.634" v="626" actId="27636"/>
          <ac:spMkLst>
            <pc:docMk/>
            <pc:sldMk cId="1981687341" sldId="256"/>
            <ac:spMk id="2" creationId="{99CD217E-C91A-446A-97E0-0C2D35ECE22E}"/>
          </ac:spMkLst>
        </pc:spChg>
      </pc:sldChg>
      <pc:sldChg chg="modSp add">
        <pc:chgData name="Nicole Welch" userId="4bbf8b27-f36f-4029-b936-1f4b065af9e0" providerId="ADAL" clId="{ECA9C3CA-5503-447D-9886-71BEF1A6310E}" dt="2019-10-16T17:31:32.663" v="887" actId="1038"/>
        <pc:sldMkLst>
          <pc:docMk/>
          <pc:sldMk cId="3606620170" sldId="261"/>
        </pc:sldMkLst>
        <pc:spChg chg="mod">
          <ac:chgData name="Nicole Welch" userId="4bbf8b27-f36f-4029-b936-1f4b065af9e0" providerId="ADAL" clId="{ECA9C3CA-5503-447D-9886-71BEF1A6310E}" dt="2019-10-16T17:31:09.271" v="865" actId="255"/>
          <ac:spMkLst>
            <pc:docMk/>
            <pc:sldMk cId="3606620170" sldId="261"/>
            <ac:spMk id="2" creationId="{29ACDB92-5D22-4D40-85A3-5383121C239B}"/>
          </ac:spMkLst>
        </pc:spChg>
        <pc:spChg chg="mod">
          <ac:chgData name="Nicole Welch" userId="4bbf8b27-f36f-4029-b936-1f4b065af9e0" providerId="ADAL" clId="{ECA9C3CA-5503-447D-9886-71BEF1A6310E}" dt="2019-10-16T17:31:14.586" v="867" actId="12"/>
          <ac:spMkLst>
            <pc:docMk/>
            <pc:sldMk cId="3606620170" sldId="261"/>
            <ac:spMk id="6" creationId="{888C0EF8-7F21-4785-BC68-F0712B51468D}"/>
          </ac:spMkLst>
        </pc:spChg>
        <pc:picChg chg="mod">
          <ac:chgData name="Nicole Welch" userId="4bbf8b27-f36f-4029-b936-1f4b065af9e0" providerId="ADAL" clId="{ECA9C3CA-5503-447D-9886-71BEF1A6310E}" dt="2019-10-16T17:31:32.663" v="887" actId="1038"/>
          <ac:picMkLst>
            <pc:docMk/>
            <pc:sldMk cId="3606620170" sldId="261"/>
            <ac:picMk id="8" creationId="{9F708277-9C37-4BF0-A8E3-11DA10931A9A}"/>
          </ac:picMkLst>
        </pc:picChg>
      </pc:sldChg>
      <pc:sldChg chg="add">
        <pc:chgData name="Nicole Welch" userId="4bbf8b27-f36f-4029-b936-1f4b065af9e0" providerId="ADAL" clId="{ECA9C3CA-5503-447D-9886-71BEF1A6310E}" dt="2019-10-16T16:36:26.107" v="425"/>
        <pc:sldMkLst>
          <pc:docMk/>
          <pc:sldMk cId="3785594536" sldId="263"/>
        </pc:sldMkLst>
      </pc:sldChg>
      <pc:sldChg chg="add">
        <pc:chgData name="Nicole Welch" userId="4bbf8b27-f36f-4029-b936-1f4b065af9e0" providerId="ADAL" clId="{ECA9C3CA-5503-447D-9886-71BEF1A6310E}" dt="2019-10-16T16:37:19.942" v="426"/>
        <pc:sldMkLst>
          <pc:docMk/>
          <pc:sldMk cId="3952012982" sldId="264"/>
        </pc:sldMkLst>
      </pc:sldChg>
      <pc:sldChg chg="modSp add">
        <pc:chgData name="Nicole Welch" userId="4bbf8b27-f36f-4029-b936-1f4b065af9e0" providerId="ADAL" clId="{ECA9C3CA-5503-447D-9886-71BEF1A6310E}" dt="2019-10-16T16:59:21.925" v="627" actId="27636"/>
        <pc:sldMkLst>
          <pc:docMk/>
          <pc:sldMk cId="3677681145" sldId="265"/>
        </pc:sldMkLst>
        <pc:spChg chg="mod">
          <ac:chgData name="Nicole Welch" userId="4bbf8b27-f36f-4029-b936-1f4b065af9e0" providerId="ADAL" clId="{ECA9C3CA-5503-447D-9886-71BEF1A6310E}" dt="2019-10-16T16:59:21.925" v="627" actId="27636"/>
          <ac:spMkLst>
            <pc:docMk/>
            <pc:sldMk cId="3677681145" sldId="265"/>
            <ac:spMk id="2" creationId="{6151D0EC-AD21-4A67-890B-A5689416CF46}"/>
          </ac:spMkLst>
        </pc:spChg>
      </pc:sldChg>
      <pc:sldChg chg="modSp del">
        <pc:chgData name="Nicole Welch" userId="4bbf8b27-f36f-4029-b936-1f4b065af9e0" providerId="ADAL" clId="{ECA9C3CA-5503-447D-9886-71BEF1A6310E}" dt="2019-10-16T17:56:40.266" v="1649" actId="47"/>
        <pc:sldMkLst>
          <pc:docMk/>
          <pc:sldMk cId="2454903221" sldId="267"/>
        </pc:sldMkLst>
        <pc:spChg chg="mod">
          <ac:chgData name="Nicole Welch" userId="4bbf8b27-f36f-4029-b936-1f4b065af9e0" providerId="ADAL" clId="{ECA9C3CA-5503-447D-9886-71BEF1A6310E}" dt="2019-10-16T17:55:54.895" v="1646" actId="207"/>
          <ac:spMkLst>
            <pc:docMk/>
            <pc:sldMk cId="2454903221" sldId="267"/>
            <ac:spMk id="4" creationId="{4E501042-C2E4-4DC0-83EF-32A6CD43AE07}"/>
          </ac:spMkLst>
        </pc:spChg>
        <pc:spChg chg="mod">
          <ac:chgData name="Nicole Welch" userId="4bbf8b27-f36f-4029-b936-1f4b065af9e0" providerId="ADAL" clId="{ECA9C3CA-5503-447D-9886-71BEF1A6310E}" dt="2019-10-16T17:56:05.120" v="1648" actId="207"/>
          <ac:spMkLst>
            <pc:docMk/>
            <pc:sldMk cId="2454903221" sldId="267"/>
            <ac:spMk id="9" creationId="{10C4BDA9-5352-43C0-916F-701C07F4BEFA}"/>
          </ac:spMkLst>
        </pc:spChg>
        <pc:spChg chg="mod">
          <ac:chgData name="Nicole Welch" userId="4bbf8b27-f36f-4029-b936-1f4b065af9e0" providerId="ADAL" clId="{ECA9C3CA-5503-447D-9886-71BEF1A6310E}" dt="2019-10-16T17:55:51.170" v="1645" actId="207"/>
          <ac:spMkLst>
            <pc:docMk/>
            <pc:sldMk cId="2454903221" sldId="267"/>
            <ac:spMk id="23" creationId="{BD01EC98-C47D-4862-8E1F-035DD346C0E9}"/>
          </ac:spMkLst>
        </pc:spChg>
        <pc:spChg chg="mod">
          <ac:chgData name="Nicole Welch" userId="4bbf8b27-f36f-4029-b936-1f4b065af9e0" providerId="ADAL" clId="{ECA9C3CA-5503-447D-9886-71BEF1A6310E}" dt="2019-10-16T17:55:46.701" v="1644" actId="207"/>
          <ac:spMkLst>
            <pc:docMk/>
            <pc:sldMk cId="2454903221" sldId="267"/>
            <ac:spMk id="24" creationId="{38808898-2EB9-469E-BE53-7EEE1758C83F}"/>
          </ac:spMkLst>
        </pc:spChg>
        <pc:spChg chg="mod">
          <ac:chgData name="Nicole Welch" userId="4bbf8b27-f36f-4029-b936-1f4b065af9e0" providerId="ADAL" clId="{ECA9C3CA-5503-447D-9886-71BEF1A6310E}" dt="2019-10-16T17:55:57.960" v="1647" actId="207"/>
          <ac:spMkLst>
            <pc:docMk/>
            <pc:sldMk cId="2454903221" sldId="267"/>
            <ac:spMk id="26" creationId="{FBD933AD-3C47-43D0-946E-0FB0D0853D52}"/>
          </ac:spMkLst>
        </pc:spChg>
      </pc:sldChg>
      <pc:sldChg chg="del">
        <pc:chgData name="Nicole Welch" userId="4bbf8b27-f36f-4029-b936-1f4b065af9e0" providerId="ADAL" clId="{ECA9C3CA-5503-447D-9886-71BEF1A6310E}" dt="2019-10-16T17:56:42.480" v="1650" actId="47"/>
        <pc:sldMkLst>
          <pc:docMk/>
          <pc:sldMk cId="3080322377" sldId="268"/>
        </pc:sldMkLst>
      </pc:sldChg>
      <pc:sldChg chg="del">
        <pc:chgData name="Nicole Welch" userId="4bbf8b27-f36f-4029-b936-1f4b065af9e0" providerId="ADAL" clId="{ECA9C3CA-5503-447D-9886-71BEF1A6310E}" dt="2019-10-16T17:56:43.648" v="1651" actId="47"/>
        <pc:sldMkLst>
          <pc:docMk/>
          <pc:sldMk cId="1808603438" sldId="269"/>
        </pc:sldMkLst>
      </pc:sldChg>
      <pc:sldChg chg="del">
        <pc:chgData name="Nicole Welch" userId="4bbf8b27-f36f-4029-b936-1f4b065af9e0" providerId="ADAL" clId="{ECA9C3CA-5503-447D-9886-71BEF1A6310E}" dt="2019-10-16T16:49:23.831" v="574" actId="47"/>
        <pc:sldMkLst>
          <pc:docMk/>
          <pc:sldMk cId="1368983571" sldId="273"/>
        </pc:sldMkLst>
      </pc:sldChg>
      <pc:sldChg chg="modSp add del">
        <pc:chgData name="Nicole Welch" userId="4bbf8b27-f36f-4029-b936-1f4b065af9e0" providerId="ADAL" clId="{ECA9C3CA-5503-447D-9886-71BEF1A6310E}" dt="2019-10-16T17:59:19.609" v="1684" actId="1076"/>
        <pc:sldMkLst>
          <pc:docMk/>
          <pc:sldMk cId="881186537" sldId="275"/>
        </pc:sldMkLst>
        <pc:spChg chg="mod">
          <ac:chgData name="Nicole Welch" userId="4bbf8b27-f36f-4029-b936-1f4b065af9e0" providerId="ADAL" clId="{ECA9C3CA-5503-447D-9886-71BEF1A6310E}" dt="2019-10-16T17:59:19.609" v="1684" actId="1076"/>
          <ac:spMkLst>
            <pc:docMk/>
            <pc:sldMk cId="881186537" sldId="275"/>
            <ac:spMk id="3" creationId="{BE2BE807-4003-42B1-B8EE-F63B100AF780}"/>
          </ac:spMkLst>
        </pc:spChg>
      </pc:sldChg>
      <pc:sldChg chg="del">
        <pc:chgData name="Nicole Welch" userId="4bbf8b27-f36f-4029-b936-1f4b065af9e0" providerId="ADAL" clId="{ECA9C3CA-5503-447D-9886-71BEF1A6310E}" dt="2019-10-16T17:59:34.218" v="1685" actId="47"/>
        <pc:sldMkLst>
          <pc:docMk/>
          <pc:sldMk cId="2373792114" sldId="276"/>
        </pc:sldMkLst>
      </pc:sldChg>
      <pc:sldChg chg="modSp add">
        <pc:chgData name="Nicole Welch" userId="4bbf8b27-f36f-4029-b936-1f4b065af9e0" providerId="ADAL" clId="{ECA9C3CA-5503-447D-9886-71BEF1A6310E}" dt="2019-10-16T17:30:09.451" v="861" actId="14100"/>
        <pc:sldMkLst>
          <pc:docMk/>
          <pc:sldMk cId="853063800" sldId="283"/>
        </pc:sldMkLst>
        <pc:spChg chg="mod">
          <ac:chgData name="Nicole Welch" userId="4bbf8b27-f36f-4029-b936-1f4b065af9e0" providerId="ADAL" clId="{ECA9C3CA-5503-447D-9886-71BEF1A6310E}" dt="2019-10-16T17:30:09.451" v="861" actId="14100"/>
          <ac:spMkLst>
            <pc:docMk/>
            <pc:sldMk cId="853063800" sldId="283"/>
            <ac:spMk id="5" creationId="{416B5153-E243-403A-9E5C-64B72E402706}"/>
          </ac:spMkLst>
        </pc:spChg>
        <pc:spChg chg="mod">
          <ac:chgData name="Nicole Welch" userId="4bbf8b27-f36f-4029-b936-1f4b065af9e0" providerId="ADAL" clId="{ECA9C3CA-5503-447D-9886-71BEF1A6310E}" dt="2019-10-16T17:29:37.201" v="856" actId="2711"/>
          <ac:spMkLst>
            <pc:docMk/>
            <pc:sldMk cId="853063800" sldId="283"/>
            <ac:spMk id="10" creationId="{B10FA759-698E-41D9-B180-9C60A19E7211}"/>
          </ac:spMkLst>
        </pc:spChg>
        <pc:spChg chg="mod">
          <ac:chgData name="Nicole Welch" userId="4bbf8b27-f36f-4029-b936-1f4b065af9e0" providerId="ADAL" clId="{ECA9C3CA-5503-447D-9886-71BEF1A6310E}" dt="2019-10-16T17:29:46.488" v="857" actId="2711"/>
          <ac:spMkLst>
            <pc:docMk/>
            <pc:sldMk cId="853063800" sldId="283"/>
            <ac:spMk id="15" creationId="{7E08168E-BEE3-4C17-BD24-D1213AD07751}"/>
          </ac:spMkLst>
        </pc:spChg>
      </pc:sldChg>
      <pc:sldChg chg="modSp">
        <pc:chgData name="Nicole Welch" userId="4bbf8b27-f36f-4029-b936-1f4b065af9e0" providerId="ADAL" clId="{ECA9C3CA-5503-447D-9886-71BEF1A6310E}" dt="2019-10-16T20:06:14.008" v="2674" actId="1076"/>
        <pc:sldMkLst>
          <pc:docMk/>
          <pc:sldMk cId="557519191" sldId="307"/>
        </pc:sldMkLst>
        <pc:spChg chg="mod">
          <ac:chgData name="Nicole Welch" userId="4bbf8b27-f36f-4029-b936-1f4b065af9e0" providerId="ADAL" clId="{ECA9C3CA-5503-447D-9886-71BEF1A6310E}" dt="2019-10-16T18:40:20.801" v="2183" actId="1076"/>
          <ac:spMkLst>
            <pc:docMk/>
            <pc:sldMk cId="557519191" sldId="307"/>
            <ac:spMk id="4" creationId="{2444A5EC-A927-4D8C-9FFB-E469120DB73D}"/>
          </ac:spMkLst>
        </pc:spChg>
        <pc:spChg chg="mod">
          <ac:chgData name="Nicole Welch" userId="4bbf8b27-f36f-4029-b936-1f4b065af9e0" providerId="ADAL" clId="{ECA9C3CA-5503-447D-9886-71BEF1A6310E}" dt="2019-10-16T18:42:17.677" v="2196" actId="403"/>
          <ac:spMkLst>
            <pc:docMk/>
            <pc:sldMk cId="557519191" sldId="307"/>
            <ac:spMk id="63" creationId="{2BAB5AA6-23D1-48AB-8D95-B86A518BBD84}"/>
          </ac:spMkLst>
        </pc:spChg>
        <pc:spChg chg="mod">
          <ac:chgData name="Nicole Welch" userId="4bbf8b27-f36f-4029-b936-1f4b065af9e0" providerId="ADAL" clId="{ECA9C3CA-5503-447D-9886-71BEF1A6310E}" dt="2019-10-16T18:42:17.677" v="2196" actId="403"/>
          <ac:spMkLst>
            <pc:docMk/>
            <pc:sldMk cId="557519191" sldId="307"/>
            <ac:spMk id="70" creationId="{057FF4CD-8919-4B1A-AACA-79D88758530C}"/>
          </ac:spMkLst>
        </pc:spChg>
        <pc:spChg chg="mod">
          <ac:chgData name="Nicole Welch" userId="4bbf8b27-f36f-4029-b936-1f4b065af9e0" providerId="ADAL" clId="{ECA9C3CA-5503-447D-9886-71BEF1A6310E}" dt="2019-10-16T18:42:33.911" v="2200" actId="20577"/>
          <ac:spMkLst>
            <pc:docMk/>
            <pc:sldMk cId="557519191" sldId="307"/>
            <ac:spMk id="71" creationId="{7D5DF732-5F40-402C-BE66-124057DC0FEC}"/>
          </ac:spMkLst>
        </pc:spChg>
        <pc:spChg chg="mod">
          <ac:chgData name="Nicole Welch" userId="4bbf8b27-f36f-4029-b936-1f4b065af9e0" providerId="ADAL" clId="{ECA9C3CA-5503-447D-9886-71BEF1A6310E}" dt="2019-10-16T18:42:17.677" v="2196" actId="403"/>
          <ac:spMkLst>
            <pc:docMk/>
            <pc:sldMk cId="557519191" sldId="307"/>
            <ac:spMk id="77" creationId="{707AF668-387B-4051-B906-8E65268A1105}"/>
          </ac:spMkLst>
        </pc:spChg>
        <pc:spChg chg="mod">
          <ac:chgData name="Nicole Welch" userId="4bbf8b27-f36f-4029-b936-1f4b065af9e0" providerId="ADAL" clId="{ECA9C3CA-5503-447D-9886-71BEF1A6310E}" dt="2019-10-16T18:42:26.258" v="2198" actId="14100"/>
          <ac:spMkLst>
            <pc:docMk/>
            <pc:sldMk cId="557519191" sldId="307"/>
            <ac:spMk id="79" creationId="{0AFABB75-9276-4788-AB03-56F7605D0E91}"/>
          </ac:spMkLst>
        </pc:spChg>
        <pc:spChg chg="mod">
          <ac:chgData name="Nicole Welch" userId="4bbf8b27-f36f-4029-b936-1f4b065af9e0" providerId="ADAL" clId="{ECA9C3CA-5503-447D-9886-71BEF1A6310E}" dt="2019-10-16T18:42:17.677" v="2196" actId="403"/>
          <ac:spMkLst>
            <pc:docMk/>
            <pc:sldMk cId="557519191" sldId="307"/>
            <ac:spMk id="81" creationId="{AE63111C-9467-497D-B5F1-F6A2426F7AB6}"/>
          </ac:spMkLst>
        </pc:spChg>
        <pc:spChg chg="mod">
          <ac:chgData name="Nicole Welch" userId="4bbf8b27-f36f-4029-b936-1f4b065af9e0" providerId="ADAL" clId="{ECA9C3CA-5503-447D-9886-71BEF1A6310E}" dt="2019-10-16T18:42:17.677" v="2196" actId="403"/>
          <ac:spMkLst>
            <pc:docMk/>
            <pc:sldMk cId="557519191" sldId="307"/>
            <ac:spMk id="87" creationId="{57A8A535-8727-474A-8EFC-AB46B5BEAA40}"/>
          </ac:spMkLst>
        </pc:spChg>
        <pc:spChg chg="mod">
          <ac:chgData name="Nicole Welch" userId="4bbf8b27-f36f-4029-b936-1f4b065af9e0" providerId="ADAL" clId="{ECA9C3CA-5503-447D-9886-71BEF1A6310E}" dt="2019-10-16T18:42:17.677" v="2196" actId="403"/>
          <ac:spMkLst>
            <pc:docMk/>
            <pc:sldMk cId="557519191" sldId="307"/>
            <ac:spMk id="88" creationId="{8893DABD-F97E-4F25-B477-110382D707CA}"/>
          </ac:spMkLst>
        </pc:spChg>
        <pc:spChg chg="mod">
          <ac:chgData name="Nicole Welch" userId="4bbf8b27-f36f-4029-b936-1f4b065af9e0" providerId="ADAL" clId="{ECA9C3CA-5503-447D-9886-71BEF1A6310E}" dt="2019-10-16T18:42:17.677" v="2196" actId="403"/>
          <ac:spMkLst>
            <pc:docMk/>
            <pc:sldMk cId="557519191" sldId="307"/>
            <ac:spMk id="89" creationId="{6B9CED0F-6512-4A09-A1D8-3AA7BD31472E}"/>
          </ac:spMkLst>
        </pc:spChg>
        <pc:spChg chg="mod">
          <ac:chgData name="Nicole Welch" userId="4bbf8b27-f36f-4029-b936-1f4b065af9e0" providerId="ADAL" clId="{ECA9C3CA-5503-447D-9886-71BEF1A6310E}" dt="2019-10-16T18:42:17.677" v="2196" actId="403"/>
          <ac:spMkLst>
            <pc:docMk/>
            <pc:sldMk cId="557519191" sldId="307"/>
            <ac:spMk id="90" creationId="{5C881ADB-43E4-4013-8930-CD6E6C644A13}"/>
          </ac:spMkLst>
        </pc:spChg>
        <pc:spChg chg="mod">
          <ac:chgData name="Nicole Welch" userId="4bbf8b27-f36f-4029-b936-1f4b065af9e0" providerId="ADAL" clId="{ECA9C3CA-5503-447D-9886-71BEF1A6310E}" dt="2019-10-16T18:42:17.677" v="2196" actId="403"/>
          <ac:spMkLst>
            <pc:docMk/>
            <pc:sldMk cId="557519191" sldId="307"/>
            <ac:spMk id="91" creationId="{56D1674A-0DCF-458B-B0D6-36D5B5DCB720}"/>
          </ac:spMkLst>
        </pc:spChg>
        <pc:spChg chg="mod">
          <ac:chgData name="Nicole Welch" userId="4bbf8b27-f36f-4029-b936-1f4b065af9e0" providerId="ADAL" clId="{ECA9C3CA-5503-447D-9886-71BEF1A6310E}" dt="2019-10-16T18:42:17.677" v="2196" actId="403"/>
          <ac:spMkLst>
            <pc:docMk/>
            <pc:sldMk cId="557519191" sldId="307"/>
            <ac:spMk id="92" creationId="{135F2080-95E0-4B49-8026-5794591D130A}"/>
          </ac:spMkLst>
        </pc:spChg>
        <pc:spChg chg="mod">
          <ac:chgData name="Nicole Welch" userId="4bbf8b27-f36f-4029-b936-1f4b065af9e0" providerId="ADAL" clId="{ECA9C3CA-5503-447D-9886-71BEF1A6310E}" dt="2019-10-16T18:42:17.677" v="2196" actId="403"/>
          <ac:spMkLst>
            <pc:docMk/>
            <pc:sldMk cId="557519191" sldId="307"/>
            <ac:spMk id="93" creationId="{C613DA2D-FA81-4E08-9E49-54F36FA4DA7A}"/>
          </ac:spMkLst>
        </pc:spChg>
        <pc:spChg chg="mod">
          <ac:chgData name="Nicole Welch" userId="4bbf8b27-f36f-4029-b936-1f4b065af9e0" providerId="ADAL" clId="{ECA9C3CA-5503-447D-9886-71BEF1A6310E}" dt="2019-10-16T18:42:21.610" v="2197" actId="14100"/>
          <ac:spMkLst>
            <pc:docMk/>
            <pc:sldMk cId="557519191" sldId="307"/>
            <ac:spMk id="94" creationId="{6DE3D2A2-C0BA-404C-A937-ECEF5A762C21}"/>
          </ac:spMkLst>
        </pc:spChg>
        <pc:spChg chg="mod">
          <ac:chgData name="Nicole Welch" userId="4bbf8b27-f36f-4029-b936-1f4b065af9e0" providerId="ADAL" clId="{ECA9C3CA-5503-447D-9886-71BEF1A6310E}" dt="2019-10-16T18:42:17.677" v="2196" actId="403"/>
          <ac:spMkLst>
            <pc:docMk/>
            <pc:sldMk cId="557519191" sldId="307"/>
            <ac:spMk id="95" creationId="{CAACBCC5-1C79-42B2-9236-20502348F6A6}"/>
          </ac:spMkLst>
        </pc:spChg>
        <pc:spChg chg="mod">
          <ac:chgData name="Nicole Welch" userId="4bbf8b27-f36f-4029-b936-1f4b065af9e0" providerId="ADAL" clId="{ECA9C3CA-5503-447D-9886-71BEF1A6310E}" dt="2019-10-16T18:42:17.677" v="2196" actId="403"/>
          <ac:spMkLst>
            <pc:docMk/>
            <pc:sldMk cId="557519191" sldId="307"/>
            <ac:spMk id="96" creationId="{66A97F68-71A8-4126-8319-92398B401DB4}"/>
          </ac:spMkLst>
        </pc:spChg>
        <pc:spChg chg="mod">
          <ac:chgData name="Nicole Welch" userId="4bbf8b27-f36f-4029-b936-1f4b065af9e0" providerId="ADAL" clId="{ECA9C3CA-5503-447D-9886-71BEF1A6310E}" dt="2019-10-16T18:42:17.677" v="2196" actId="403"/>
          <ac:spMkLst>
            <pc:docMk/>
            <pc:sldMk cId="557519191" sldId="307"/>
            <ac:spMk id="98" creationId="{7FE5A61A-E1EA-43D7-8977-7DBFF88FD67B}"/>
          </ac:spMkLst>
        </pc:spChg>
        <pc:spChg chg="mod">
          <ac:chgData name="Nicole Welch" userId="4bbf8b27-f36f-4029-b936-1f4b065af9e0" providerId="ADAL" clId="{ECA9C3CA-5503-447D-9886-71BEF1A6310E}" dt="2019-10-16T18:42:17.677" v="2196" actId="403"/>
          <ac:spMkLst>
            <pc:docMk/>
            <pc:sldMk cId="557519191" sldId="307"/>
            <ac:spMk id="99" creationId="{2C752725-E6F5-4231-BADE-0D45977ACE85}"/>
          </ac:spMkLst>
        </pc:spChg>
        <pc:spChg chg="mod">
          <ac:chgData name="Nicole Welch" userId="4bbf8b27-f36f-4029-b936-1f4b065af9e0" providerId="ADAL" clId="{ECA9C3CA-5503-447D-9886-71BEF1A6310E}" dt="2019-10-16T18:42:17.677" v="2196" actId="403"/>
          <ac:spMkLst>
            <pc:docMk/>
            <pc:sldMk cId="557519191" sldId="307"/>
            <ac:spMk id="101" creationId="{ACB0AD54-AF45-4F6C-A867-721041543C5A}"/>
          </ac:spMkLst>
        </pc:spChg>
        <pc:spChg chg="mod">
          <ac:chgData name="Nicole Welch" userId="4bbf8b27-f36f-4029-b936-1f4b065af9e0" providerId="ADAL" clId="{ECA9C3CA-5503-447D-9886-71BEF1A6310E}" dt="2019-10-16T18:42:17.677" v="2196" actId="403"/>
          <ac:spMkLst>
            <pc:docMk/>
            <pc:sldMk cId="557519191" sldId="307"/>
            <ac:spMk id="102" creationId="{D0A60FAD-EAE1-4315-8F97-D4098EE53CB6}"/>
          </ac:spMkLst>
        </pc:spChg>
        <pc:spChg chg="mod">
          <ac:chgData name="Nicole Welch" userId="4bbf8b27-f36f-4029-b936-1f4b065af9e0" providerId="ADAL" clId="{ECA9C3CA-5503-447D-9886-71BEF1A6310E}" dt="2019-10-16T18:42:17.677" v="2196" actId="403"/>
          <ac:spMkLst>
            <pc:docMk/>
            <pc:sldMk cId="557519191" sldId="307"/>
            <ac:spMk id="103" creationId="{C0B55031-81C4-4852-B673-83CFEADD7A56}"/>
          </ac:spMkLst>
        </pc:spChg>
        <pc:spChg chg="mod">
          <ac:chgData name="Nicole Welch" userId="4bbf8b27-f36f-4029-b936-1f4b065af9e0" providerId="ADAL" clId="{ECA9C3CA-5503-447D-9886-71BEF1A6310E}" dt="2019-10-16T18:42:17.677" v="2196" actId="403"/>
          <ac:spMkLst>
            <pc:docMk/>
            <pc:sldMk cId="557519191" sldId="307"/>
            <ac:spMk id="106" creationId="{D064EB6B-0E28-4991-AB54-15A6B3B78B63}"/>
          </ac:spMkLst>
        </pc:spChg>
        <pc:spChg chg="mod">
          <ac:chgData name="Nicole Welch" userId="4bbf8b27-f36f-4029-b936-1f4b065af9e0" providerId="ADAL" clId="{ECA9C3CA-5503-447D-9886-71BEF1A6310E}" dt="2019-10-16T18:42:17.677" v="2196" actId="403"/>
          <ac:spMkLst>
            <pc:docMk/>
            <pc:sldMk cId="557519191" sldId="307"/>
            <ac:spMk id="107" creationId="{23CF3115-8BCB-4260-8B6C-BDDE674B291B}"/>
          </ac:spMkLst>
        </pc:spChg>
        <pc:spChg chg="mod">
          <ac:chgData name="Nicole Welch" userId="4bbf8b27-f36f-4029-b936-1f4b065af9e0" providerId="ADAL" clId="{ECA9C3CA-5503-447D-9886-71BEF1A6310E}" dt="2019-10-16T18:42:17.677" v="2196" actId="403"/>
          <ac:spMkLst>
            <pc:docMk/>
            <pc:sldMk cId="557519191" sldId="307"/>
            <ac:spMk id="109" creationId="{35F0C963-A13B-43A0-9365-2F7425C42243}"/>
          </ac:spMkLst>
        </pc:spChg>
        <pc:spChg chg="mod">
          <ac:chgData name="Nicole Welch" userId="4bbf8b27-f36f-4029-b936-1f4b065af9e0" providerId="ADAL" clId="{ECA9C3CA-5503-447D-9886-71BEF1A6310E}" dt="2019-10-16T18:42:17.677" v="2196" actId="403"/>
          <ac:spMkLst>
            <pc:docMk/>
            <pc:sldMk cId="557519191" sldId="307"/>
            <ac:spMk id="112" creationId="{F68CA16A-F081-4CFC-9A87-1768117D3CF3}"/>
          </ac:spMkLst>
        </pc:spChg>
        <pc:grpChg chg="mod">
          <ac:chgData name="Nicole Welch" userId="4bbf8b27-f36f-4029-b936-1f4b065af9e0" providerId="ADAL" clId="{ECA9C3CA-5503-447D-9886-71BEF1A6310E}" dt="2019-10-16T18:41:32.522" v="2194"/>
          <ac:grpSpMkLst>
            <pc:docMk/>
            <pc:sldMk cId="557519191" sldId="307"/>
            <ac:grpSpMk id="60" creationId="{50618300-3210-4A85-8A58-475CA2616D3B}"/>
          </ac:grpSpMkLst>
        </pc:grpChg>
        <pc:grpChg chg="mod">
          <ac:chgData name="Nicole Welch" userId="4bbf8b27-f36f-4029-b936-1f4b065af9e0" providerId="ADAL" clId="{ECA9C3CA-5503-447D-9886-71BEF1A6310E}" dt="2019-10-16T18:28:57.564" v="2164" actId="1036"/>
          <ac:grpSpMkLst>
            <pc:docMk/>
            <pc:sldMk cId="557519191" sldId="307"/>
            <ac:grpSpMk id="61" creationId="{8B8C4B4E-1C87-4C57-8D0E-3EE57C11DB3D}"/>
          </ac:grpSpMkLst>
        </pc:grpChg>
        <pc:grpChg chg="mod">
          <ac:chgData name="Nicole Welch" userId="4bbf8b27-f36f-4029-b936-1f4b065af9e0" providerId="ADAL" clId="{ECA9C3CA-5503-447D-9886-71BEF1A6310E}" dt="2019-10-16T18:28:57.564" v="2164" actId="1036"/>
          <ac:grpSpMkLst>
            <pc:docMk/>
            <pc:sldMk cId="557519191" sldId="307"/>
            <ac:grpSpMk id="62" creationId="{A13B452B-FD4C-490F-93C3-B9AA0DB64BAC}"/>
          </ac:grpSpMkLst>
        </pc:grpChg>
        <pc:grpChg chg="mod">
          <ac:chgData name="Nicole Welch" userId="4bbf8b27-f36f-4029-b936-1f4b065af9e0" providerId="ADAL" clId="{ECA9C3CA-5503-447D-9886-71BEF1A6310E}" dt="2019-10-16T18:28:57.564" v="2164" actId="1036"/>
          <ac:grpSpMkLst>
            <pc:docMk/>
            <pc:sldMk cId="557519191" sldId="307"/>
            <ac:grpSpMk id="64" creationId="{0FC4175D-8B71-492F-BD69-3E79A1135025}"/>
          </ac:grpSpMkLst>
        </pc:grpChg>
        <pc:grpChg chg="mod">
          <ac:chgData name="Nicole Welch" userId="4bbf8b27-f36f-4029-b936-1f4b065af9e0" providerId="ADAL" clId="{ECA9C3CA-5503-447D-9886-71BEF1A6310E}" dt="2019-10-16T18:40:34.711" v="2186" actId="207"/>
          <ac:grpSpMkLst>
            <pc:docMk/>
            <pc:sldMk cId="557519191" sldId="307"/>
            <ac:grpSpMk id="65" creationId="{451FF823-F784-4E89-8645-A4076DF6D4E8}"/>
          </ac:grpSpMkLst>
        </pc:grpChg>
        <pc:grpChg chg="mod">
          <ac:chgData name="Nicole Welch" userId="4bbf8b27-f36f-4029-b936-1f4b065af9e0" providerId="ADAL" clId="{ECA9C3CA-5503-447D-9886-71BEF1A6310E}" dt="2019-10-16T18:40:34.711" v="2186" actId="207"/>
          <ac:grpSpMkLst>
            <pc:docMk/>
            <pc:sldMk cId="557519191" sldId="307"/>
            <ac:grpSpMk id="67" creationId="{C0DD9366-906D-4053-90E6-4D2DC04BC556}"/>
          </ac:grpSpMkLst>
        </pc:grpChg>
        <pc:grpChg chg="mod">
          <ac:chgData name="Nicole Welch" userId="4bbf8b27-f36f-4029-b936-1f4b065af9e0" providerId="ADAL" clId="{ECA9C3CA-5503-447D-9886-71BEF1A6310E}" dt="2019-10-16T20:06:14.008" v="2674" actId="1076"/>
          <ac:grpSpMkLst>
            <pc:docMk/>
            <pc:sldMk cId="557519191" sldId="307"/>
            <ac:grpSpMk id="110" creationId="{58A24E97-488A-4D00-9D75-704CBCE5DC71}"/>
          </ac:grpSpMkLst>
        </pc:grpChg>
        <pc:grpChg chg="mod">
          <ac:chgData name="Nicole Welch" userId="4bbf8b27-f36f-4029-b936-1f4b065af9e0" providerId="ADAL" clId="{ECA9C3CA-5503-447D-9886-71BEF1A6310E}" dt="2019-10-16T18:28:57.564" v="2164" actId="1036"/>
          <ac:grpSpMkLst>
            <pc:docMk/>
            <pc:sldMk cId="557519191" sldId="307"/>
            <ac:grpSpMk id="113" creationId="{42F8D8A9-B607-400D-A778-71C005BE6893}"/>
          </ac:grpSpMkLst>
        </pc:grpChg>
        <pc:picChg chg="mod">
          <ac:chgData name="Nicole Welch" userId="4bbf8b27-f36f-4029-b936-1f4b065af9e0" providerId="ADAL" clId="{ECA9C3CA-5503-447D-9886-71BEF1A6310E}" dt="2019-10-16T18:28:57.564" v="2164" actId="1036"/>
          <ac:picMkLst>
            <pc:docMk/>
            <pc:sldMk cId="557519191" sldId="307"/>
            <ac:picMk id="66" creationId="{FC772A5F-85C7-4F17-A882-FD869A770905}"/>
          </ac:picMkLst>
        </pc:picChg>
        <pc:picChg chg="mod">
          <ac:chgData name="Nicole Welch" userId="4bbf8b27-f36f-4029-b936-1f4b065af9e0" providerId="ADAL" clId="{ECA9C3CA-5503-447D-9886-71BEF1A6310E}" dt="2019-10-16T18:28:57.564" v="2164" actId="1036"/>
          <ac:picMkLst>
            <pc:docMk/>
            <pc:sldMk cId="557519191" sldId="307"/>
            <ac:picMk id="68" creationId="{08FC3547-9591-4EC0-901A-C2F48BDCA5CA}"/>
          </ac:picMkLst>
        </pc:picChg>
        <pc:picChg chg="mod">
          <ac:chgData name="Nicole Welch" userId="4bbf8b27-f36f-4029-b936-1f4b065af9e0" providerId="ADAL" clId="{ECA9C3CA-5503-447D-9886-71BEF1A6310E}" dt="2019-10-16T18:28:57.564" v="2164" actId="1036"/>
          <ac:picMkLst>
            <pc:docMk/>
            <pc:sldMk cId="557519191" sldId="307"/>
            <ac:picMk id="75" creationId="{5F7CDE76-FC06-4FF5-8CE2-215DE4473848}"/>
          </ac:picMkLst>
        </pc:picChg>
        <pc:picChg chg="mod">
          <ac:chgData name="Nicole Welch" userId="4bbf8b27-f36f-4029-b936-1f4b065af9e0" providerId="ADAL" clId="{ECA9C3CA-5503-447D-9886-71BEF1A6310E}" dt="2019-10-16T18:41:27.573" v="2193"/>
          <ac:picMkLst>
            <pc:docMk/>
            <pc:sldMk cId="557519191" sldId="307"/>
            <ac:picMk id="76" creationId="{05372D24-1A48-471D-81D2-A774494FA17F}"/>
          </ac:picMkLst>
        </pc:picChg>
        <pc:picChg chg="mod">
          <ac:chgData name="Nicole Welch" userId="4bbf8b27-f36f-4029-b936-1f4b065af9e0" providerId="ADAL" clId="{ECA9C3CA-5503-447D-9886-71BEF1A6310E}" dt="2019-10-16T18:41:04.740" v="2192" actId="14100"/>
          <ac:picMkLst>
            <pc:docMk/>
            <pc:sldMk cId="557519191" sldId="307"/>
            <ac:picMk id="104" creationId="{1A6DFD1D-8A38-461A-BBE0-FE57E0A582CD}"/>
          </ac:picMkLst>
        </pc:picChg>
      </pc:sldChg>
      <pc:sldChg chg="del mod modShow">
        <pc:chgData name="Nicole Welch" userId="4bbf8b27-f36f-4029-b936-1f4b065af9e0" providerId="ADAL" clId="{ECA9C3CA-5503-447D-9886-71BEF1A6310E}" dt="2019-10-16T16:55:19.970" v="597" actId="47"/>
        <pc:sldMkLst>
          <pc:docMk/>
          <pc:sldMk cId="3607006734" sldId="311"/>
        </pc:sldMkLst>
      </pc:sldChg>
      <pc:sldChg chg="modSp">
        <pc:chgData name="Nicole Welch" userId="4bbf8b27-f36f-4029-b936-1f4b065af9e0" providerId="ADAL" clId="{ECA9C3CA-5503-447D-9886-71BEF1A6310E}" dt="2019-10-16T17:06:57.859" v="662" actId="207"/>
        <pc:sldMkLst>
          <pc:docMk/>
          <pc:sldMk cId="3165972271" sldId="312"/>
        </pc:sldMkLst>
        <pc:graphicFrameChg chg="mod">
          <ac:chgData name="Nicole Welch" userId="4bbf8b27-f36f-4029-b936-1f4b065af9e0" providerId="ADAL" clId="{ECA9C3CA-5503-447D-9886-71BEF1A6310E}" dt="2019-10-16T17:06:57.859" v="662" actId="207"/>
          <ac:graphicFrameMkLst>
            <pc:docMk/>
            <pc:sldMk cId="3165972271" sldId="312"/>
            <ac:graphicFrameMk id="3" creationId="{1F1E7AEC-F7C5-44C4-B575-4A1FE3E7A349}"/>
          </ac:graphicFrameMkLst>
        </pc:graphicFrameChg>
      </pc:sldChg>
      <pc:sldChg chg="del">
        <pc:chgData name="Nicole Welch" userId="4bbf8b27-f36f-4029-b936-1f4b065af9e0" providerId="ADAL" clId="{ECA9C3CA-5503-447D-9886-71BEF1A6310E}" dt="2019-10-16T16:52:32.888" v="585" actId="47"/>
        <pc:sldMkLst>
          <pc:docMk/>
          <pc:sldMk cId="3724792059" sldId="340"/>
        </pc:sldMkLst>
      </pc:sldChg>
      <pc:sldChg chg="modSp add setBg">
        <pc:chgData name="Nicole Welch" userId="4bbf8b27-f36f-4029-b936-1f4b065af9e0" providerId="ADAL" clId="{ECA9C3CA-5503-447D-9886-71BEF1A6310E}" dt="2019-10-16T17:26:10.783" v="814" actId="12269"/>
        <pc:sldMkLst>
          <pc:docMk/>
          <pc:sldMk cId="98182412" sldId="648"/>
        </pc:sldMkLst>
        <pc:graphicFrameChg chg="mod">
          <ac:chgData name="Nicole Welch" userId="4bbf8b27-f36f-4029-b936-1f4b065af9e0" providerId="ADAL" clId="{ECA9C3CA-5503-447D-9886-71BEF1A6310E}" dt="2019-10-16T17:26:10.783" v="814" actId="12269"/>
          <ac:graphicFrameMkLst>
            <pc:docMk/>
            <pc:sldMk cId="98182412" sldId="648"/>
            <ac:graphicFrameMk id="61" creationId="{00000000-0000-0000-0000-000000000000}"/>
          </ac:graphicFrameMkLst>
        </pc:graphicFrameChg>
      </pc:sldChg>
      <pc:sldChg chg="add del">
        <pc:chgData name="Nicole Welch" userId="4bbf8b27-f36f-4029-b936-1f4b065af9e0" providerId="ADAL" clId="{ECA9C3CA-5503-447D-9886-71BEF1A6310E}" dt="2019-10-16T19:55:47.029" v="2481" actId="47"/>
        <pc:sldMkLst>
          <pc:docMk/>
          <pc:sldMk cId="2090318524" sldId="967"/>
        </pc:sldMkLst>
      </pc:sldChg>
      <pc:sldChg chg="del">
        <pc:chgData name="Nicole Welch" userId="4bbf8b27-f36f-4029-b936-1f4b065af9e0" providerId="ADAL" clId="{ECA9C3CA-5503-447D-9886-71BEF1A6310E}" dt="2019-10-16T17:58:48.684" v="1678" actId="47"/>
        <pc:sldMkLst>
          <pc:docMk/>
          <pc:sldMk cId="3766342884" sldId="1551"/>
        </pc:sldMkLst>
      </pc:sldChg>
      <pc:sldChg chg="addSp delSp modSp mod ord modClrScheme chgLayout">
        <pc:chgData name="Nicole Welch" userId="4bbf8b27-f36f-4029-b936-1f4b065af9e0" providerId="ADAL" clId="{ECA9C3CA-5503-447D-9886-71BEF1A6310E}" dt="2019-10-16T19:48:29.094" v="2465" actId="700"/>
        <pc:sldMkLst>
          <pc:docMk/>
          <pc:sldMk cId="317433810" sldId="1566"/>
        </pc:sldMkLst>
        <pc:spChg chg="mod ord">
          <ac:chgData name="Nicole Welch" userId="4bbf8b27-f36f-4029-b936-1f4b065af9e0" providerId="ADAL" clId="{ECA9C3CA-5503-447D-9886-71BEF1A6310E}" dt="2019-10-16T19:48:29.094" v="2465" actId="700"/>
          <ac:spMkLst>
            <pc:docMk/>
            <pc:sldMk cId="317433810" sldId="1566"/>
            <ac:spMk id="2" creationId="{00000000-0000-0000-0000-000000000000}"/>
          </ac:spMkLst>
        </pc:spChg>
        <pc:spChg chg="add del mod ord">
          <ac:chgData name="Nicole Welch" userId="4bbf8b27-f36f-4029-b936-1f4b065af9e0" providerId="ADAL" clId="{ECA9C3CA-5503-447D-9886-71BEF1A6310E}" dt="2019-10-16T17:28:25.670" v="838" actId="478"/>
          <ac:spMkLst>
            <pc:docMk/>
            <pc:sldMk cId="317433810" sldId="1566"/>
            <ac:spMk id="4" creationId="{D0C777F7-4EB1-4E5F-9D0C-2AA959E53419}"/>
          </ac:spMkLst>
        </pc:spChg>
      </pc:sldChg>
      <pc:sldChg chg="modSp del mod modShow">
        <pc:chgData name="Nicole Welch" userId="4bbf8b27-f36f-4029-b936-1f4b065af9e0" providerId="ADAL" clId="{ECA9C3CA-5503-447D-9886-71BEF1A6310E}" dt="2019-10-16T16:55:25.663" v="598" actId="47"/>
        <pc:sldMkLst>
          <pc:docMk/>
          <pc:sldMk cId="11104022" sldId="1580"/>
        </pc:sldMkLst>
        <pc:spChg chg="mod">
          <ac:chgData name="Nicole Welch" userId="4bbf8b27-f36f-4029-b936-1f4b065af9e0" providerId="ADAL" clId="{ECA9C3CA-5503-447D-9886-71BEF1A6310E}" dt="2019-10-16T16:33:55.041" v="419" actId="20577"/>
          <ac:spMkLst>
            <pc:docMk/>
            <pc:sldMk cId="11104022" sldId="1580"/>
            <ac:spMk id="3" creationId="{00000000-0000-0000-0000-000000000000}"/>
          </ac:spMkLst>
        </pc:spChg>
      </pc:sldChg>
      <pc:sldChg chg="modSp add">
        <pc:chgData name="Nicole Welch" userId="4bbf8b27-f36f-4029-b936-1f4b065af9e0" providerId="ADAL" clId="{ECA9C3CA-5503-447D-9886-71BEF1A6310E}" dt="2019-10-16T17:58:33.457" v="1677"/>
        <pc:sldMkLst>
          <pc:docMk/>
          <pc:sldMk cId="690825339" sldId="1817"/>
        </pc:sldMkLst>
        <pc:spChg chg="mod">
          <ac:chgData name="Nicole Welch" userId="4bbf8b27-f36f-4029-b936-1f4b065af9e0" providerId="ADAL" clId="{ECA9C3CA-5503-447D-9886-71BEF1A6310E}" dt="2019-10-16T17:57:35.112" v="1674" actId="1036"/>
          <ac:spMkLst>
            <pc:docMk/>
            <pc:sldMk cId="690825339" sldId="1817"/>
            <ac:spMk id="6" creationId="{1FB74DA0-E491-4633-B734-25E4C02E0A1D}"/>
          </ac:spMkLst>
        </pc:spChg>
        <pc:graphicFrameChg chg="mod">
          <ac:chgData name="Nicole Welch" userId="4bbf8b27-f36f-4029-b936-1f4b065af9e0" providerId="ADAL" clId="{ECA9C3CA-5503-447D-9886-71BEF1A6310E}" dt="2019-10-16T17:58:33.457" v="1677"/>
          <ac:graphicFrameMkLst>
            <pc:docMk/>
            <pc:sldMk cId="690825339" sldId="1817"/>
            <ac:graphicFrameMk id="36" creationId="{574FC6AA-DB36-4DAF-AD88-F56F68BF63E1}"/>
          </ac:graphicFrameMkLst>
        </pc:graphicFrameChg>
      </pc:sldChg>
      <pc:sldChg chg="del">
        <pc:chgData name="Nicole Welch" userId="4bbf8b27-f36f-4029-b936-1f4b065af9e0" providerId="ADAL" clId="{ECA9C3CA-5503-447D-9886-71BEF1A6310E}" dt="2019-10-16T18:27:07.606" v="2130" actId="47"/>
        <pc:sldMkLst>
          <pc:docMk/>
          <pc:sldMk cId="2805308840" sldId="1843"/>
        </pc:sldMkLst>
      </pc:sldChg>
      <pc:sldChg chg="del">
        <pc:chgData name="Nicole Welch" userId="4bbf8b27-f36f-4029-b936-1f4b065af9e0" providerId="ADAL" clId="{ECA9C3CA-5503-447D-9886-71BEF1A6310E}" dt="2019-10-16T17:20:17.984" v="667" actId="47"/>
        <pc:sldMkLst>
          <pc:docMk/>
          <pc:sldMk cId="1331900311" sldId="1849"/>
        </pc:sldMkLst>
      </pc:sldChg>
      <pc:sldChg chg="add del modTransition">
        <pc:chgData name="Nicole Welch" userId="4bbf8b27-f36f-4029-b936-1f4b065af9e0" providerId="ADAL" clId="{ECA9C3CA-5503-447D-9886-71BEF1A6310E}" dt="2019-10-16T16:41:09.516" v="451" actId="2696"/>
        <pc:sldMkLst>
          <pc:docMk/>
          <pc:sldMk cId="1576839682" sldId="1873"/>
        </pc:sldMkLst>
      </pc:sldChg>
      <pc:sldChg chg="add">
        <pc:chgData name="Nicole Welch" userId="4bbf8b27-f36f-4029-b936-1f4b065af9e0" providerId="ADAL" clId="{ECA9C3CA-5503-447D-9886-71BEF1A6310E}" dt="2019-10-16T16:41:14.768" v="452"/>
        <pc:sldMkLst>
          <pc:docMk/>
          <pc:sldMk cId="2726076834" sldId="1873"/>
        </pc:sldMkLst>
      </pc:sldChg>
      <pc:sldChg chg="add">
        <pc:chgData name="Nicole Welch" userId="4bbf8b27-f36f-4029-b936-1f4b065af9e0" providerId="ADAL" clId="{ECA9C3CA-5503-447D-9886-71BEF1A6310E}" dt="2019-10-16T17:57:14.302" v="1652"/>
        <pc:sldMkLst>
          <pc:docMk/>
          <pc:sldMk cId="1006355339" sldId="1875"/>
        </pc:sldMkLst>
      </pc:sldChg>
      <pc:sldChg chg="modSp setBg">
        <pc:chgData name="Nicole Welch" userId="4bbf8b27-f36f-4029-b936-1f4b065af9e0" providerId="ADAL" clId="{ECA9C3CA-5503-447D-9886-71BEF1A6310E}" dt="2019-10-16T19:49:20.264" v="2466" actId="1076"/>
        <pc:sldMkLst>
          <pc:docMk/>
          <pc:sldMk cId="3374772378" sldId="1882"/>
        </pc:sldMkLst>
        <pc:spChg chg="mod">
          <ac:chgData name="Nicole Welch" userId="4bbf8b27-f36f-4029-b936-1f4b065af9e0" providerId="ADAL" clId="{ECA9C3CA-5503-447D-9886-71BEF1A6310E}" dt="2019-10-16T17:28:49" v="842" actId="6549"/>
          <ac:spMkLst>
            <pc:docMk/>
            <pc:sldMk cId="3374772378" sldId="1882"/>
            <ac:spMk id="4" creationId="{457A7564-8722-4930-9D1F-C9596EA915C3}"/>
          </ac:spMkLst>
        </pc:spChg>
        <pc:spChg chg="mod">
          <ac:chgData name="Nicole Welch" userId="4bbf8b27-f36f-4029-b936-1f4b065af9e0" providerId="ADAL" clId="{ECA9C3CA-5503-447D-9886-71BEF1A6310E}" dt="2019-10-16T17:29:08.128" v="854" actId="1036"/>
          <ac:spMkLst>
            <pc:docMk/>
            <pc:sldMk cId="3374772378" sldId="1882"/>
            <ac:spMk id="19" creationId="{3EC23438-EFFE-4332-8717-A3A091223E1E}"/>
          </ac:spMkLst>
        </pc:spChg>
        <pc:spChg chg="mod">
          <ac:chgData name="Nicole Welch" userId="4bbf8b27-f36f-4029-b936-1f4b065af9e0" providerId="ADAL" clId="{ECA9C3CA-5503-447D-9886-71BEF1A6310E}" dt="2019-10-16T17:28:54.806" v="845" actId="1036"/>
          <ac:spMkLst>
            <pc:docMk/>
            <pc:sldMk cId="3374772378" sldId="1882"/>
            <ac:spMk id="20" creationId="{7ADE4C4C-FE35-4D74-B242-01883759AED9}"/>
          </ac:spMkLst>
        </pc:spChg>
        <pc:picChg chg="mod">
          <ac:chgData name="Nicole Welch" userId="4bbf8b27-f36f-4029-b936-1f4b065af9e0" providerId="ADAL" clId="{ECA9C3CA-5503-447D-9886-71BEF1A6310E}" dt="2019-10-16T19:49:20.264" v="2466" actId="1076"/>
          <ac:picMkLst>
            <pc:docMk/>
            <pc:sldMk cId="3374772378" sldId="1882"/>
            <ac:picMk id="17" creationId="{3B36B366-0BD7-4739-B214-283DADEEB37A}"/>
          </ac:picMkLst>
        </pc:picChg>
        <pc:picChg chg="mod">
          <ac:chgData name="Nicole Welch" userId="4bbf8b27-f36f-4029-b936-1f4b065af9e0" providerId="ADAL" clId="{ECA9C3CA-5503-447D-9886-71BEF1A6310E}" dt="2019-10-16T17:28:57.323" v="848" actId="1036"/>
          <ac:picMkLst>
            <pc:docMk/>
            <pc:sldMk cId="3374772378" sldId="1882"/>
            <ac:picMk id="18" creationId="{B0854297-B4F5-4D2F-AE90-31737B345B15}"/>
          </ac:picMkLst>
        </pc:picChg>
      </pc:sldChg>
      <pc:sldChg chg="modSp">
        <pc:chgData name="Nicole Welch" userId="4bbf8b27-f36f-4029-b936-1f4b065af9e0" providerId="ADAL" clId="{ECA9C3CA-5503-447D-9886-71BEF1A6310E}" dt="2019-10-16T17:55:34.534" v="1643" actId="1076"/>
        <pc:sldMkLst>
          <pc:docMk/>
          <pc:sldMk cId="1926549241" sldId="2315"/>
        </pc:sldMkLst>
        <pc:spChg chg="mod">
          <ac:chgData name="Nicole Welch" userId="4bbf8b27-f36f-4029-b936-1f4b065af9e0" providerId="ADAL" clId="{ECA9C3CA-5503-447D-9886-71BEF1A6310E}" dt="2019-10-16T17:55:03.135" v="1640" actId="1036"/>
          <ac:spMkLst>
            <pc:docMk/>
            <pc:sldMk cId="1926549241" sldId="2315"/>
            <ac:spMk id="4" creationId="{23DB6619-9E4C-41F3-A528-C9D4AF54CADC}"/>
          </ac:spMkLst>
        </pc:spChg>
        <pc:spChg chg="mod">
          <ac:chgData name="Nicole Welch" userId="4bbf8b27-f36f-4029-b936-1f4b065af9e0" providerId="ADAL" clId="{ECA9C3CA-5503-447D-9886-71BEF1A6310E}" dt="2019-10-16T17:55:03.135" v="1640" actId="1036"/>
          <ac:spMkLst>
            <pc:docMk/>
            <pc:sldMk cId="1926549241" sldId="2315"/>
            <ac:spMk id="5" creationId="{271C60B2-F75E-420F-9380-A0F3FFA03F80}"/>
          </ac:spMkLst>
        </pc:spChg>
        <pc:spChg chg="mod">
          <ac:chgData name="Nicole Welch" userId="4bbf8b27-f36f-4029-b936-1f4b065af9e0" providerId="ADAL" clId="{ECA9C3CA-5503-447D-9886-71BEF1A6310E}" dt="2019-10-16T17:55:03.135" v="1640" actId="1036"/>
          <ac:spMkLst>
            <pc:docMk/>
            <pc:sldMk cId="1926549241" sldId="2315"/>
            <ac:spMk id="6" creationId="{129CC6F1-462A-4889-8B6D-FD5E8E1E7304}"/>
          </ac:spMkLst>
        </pc:spChg>
        <pc:spChg chg="mod">
          <ac:chgData name="Nicole Welch" userId="4bbf8b27-f36f-4029-b936-1f4b065af9e0" providerId="ADAL" clId="{ECA9C3CA-5503-447D-9886-71BEF1A6310E}" dt="2019-10-16T17:55:14.657" v="1641" actId="207"/>
          <ac:spMkLst>
            <pc:docMk/>
            <pc:sldMk cId="1926549241" sldId="2315"/>
            <ac:spMk id="8" creationId="{3E47FC1A-462D-4362-B06B-29C4B250465B}"/>
          </ac:spMkLst>
        </pc:spChg>
        <pc:spChg chg="mod">
          <ac:chgData name="Nicole Welch" userId="4bbf8b27-f36f-4029-b936-1f4b065af9e0" providerId="ADAL" clId="{ECA9C3CA-5503-447D-9886-71BEF1A6310E}" dt="2019-10-16T17:55:14.657" v="1641" actId="207"/>
          <ac:spMkLst>
            <pc:docMk/>
            <pc:sldMk cId="1926549241" sldId="2315"/>
            <ac:spMk id="9" creationId="{9DCB7C2C-5014-451F-AE07-96AAF5D717D7}"/>
          </ac:spMkLst>
        </pc:spChg>
        <pc:spChg chg="mod">
          <ac:chgData name="Nicole Welch" userId="4bbf8b27-f36f-4029-b936-1f4b065af9e0" providerId="ADAL" clId="{ECA9C3CA-5503-447D-9886-71BEF1A6310E}" dt="2019-10-16T17:55:14.657" v="1641" actId="207"/>
          <ac:spMkLst>
            <pc:docMk/>
            <pc:sldMk cId="1926549241" sldId="2315"/>
            <ac:spMk id="10" creationId="{5B3005FC-39B9-4FE2-AF2E-FA5138ACCA7F}"/>
          </ac:spMkLst>
        </pc:spChg>
        <pc:spChg chg="mod">
          <ac:chgData name="Nicole Welch" userId="4bbf8b27-f36f-4029-b936-1f4b065af9e0" providerId="ADAL" clId="{ECA9C3CA-5503-447D-9886-71BEF1A6310E}" dt="2019-10-16T17:55:14.657" v="1641" actId="207"/>
          <ac:spMkLst>
            <pc:docMk/>
            <pc:sldMk cId="1926549241" sldId="2315"/>
            <ac:spMk id="11" creationId="{15CCCFF0-6B85-4DD4-80E0-D32FEF3B570D}"/>
          </ac:spMkLst>
        </pc:spChg>
        <pc:spChg chg="mod">
          <ac:chgData name="Nicole Welch" userId="4bbf8b27-f36f-4029-b936-1f4b065af9e0" providerId="ADAL" clId="{ECA9C3CA-5503-447D-9886-71BEF1A6310E}" dt="2019-10-16T17:55:14.657" v="1641" actId="207"/>
          <ac:spMkLst>
            <pc:docMk/>
            <pc:sldMk cId="1926549241" sldId="2315"/>
            <ac:spMk id="12" creationId="{774AD0B9-3F71-46B9-934B-F212BC3C6C69}"/>
          </ac:spMkLst>
        </pc:spChg>
        <pc:spChg chg="mod">
          <ac:chgData name="Nicole Welch" userId="4bbf8b27-f36f-4029-b936-1f4b065af9e0" providerId="ADAL" clId="{ECA9C3CA-5503-447D-9886-71BEF1A6310E}" dt="2019-10-16T17:55:14.657" v="1641" actId="207"/>
          <ac:spMkLst>
            <pc:docMk/>
            <pc:sldMk cId="1926549241" sldId="2315"/>
            <ac:spMk id="13" creationId="{8C541003-0CB9-4465-8E98-9AB5B95CE21E}"/>
          </ac:spMkLst>
        </pc:spChg>
        <pc:spChg chg="mod">
          <ac:chgData name="Nicole Welch" userId="4bbf8b27-f36f-4029-b936-1f4b065af9e0" providerId="ADAL" clId="{ECA9C3CA-5503-447D-9886-71BEF1A6310E}" dt="2019-10-16T17:55:14.657" v="1641" actId="207"/>
          <ac:spMkLst>
            <pc:docMk/>
            <pc:sldMk cId="1926549241" sldId="2315"/>
            <ac:spMk id="14" creationId="{04239ACB-227E-463A-8425-35B78774CD83}"/>
          </ac:spMkLst>
        </pc:spChg>
        <pc:spChg chg="mod">
          <ac:chgData name="Nicole Welch" userId="4bbf8b27-f36f-4029-b936-1f4b065af9e0" providerId="ADAL" clId="{ECA9C3CA-5503-447D-9886-71BEF1A6310E}" dt="2019-10-16T17:55:29.572" v="1642" actId="208"/>
          <ac:spMkLst>
            <pc:docMk/>
            <pc:sldMk cId="1926549241" sldId="2315"/>
            <ac:spMk id="42" creationId="{9DDC58D5-3458-4F3D-AC89-B5415D7A36C6}"/>
          </ac:spMkLst>
        </pc:spChg>
        <pc:spChg chg="mod">
          <ac:chgData name="Nicole Welch" userId="4bbf8b27-f36f-4029-b936-1f4b065af9e0" providerId="ADAL" clId="{ECA9C3CA-5503-447D-9886-71BEF1A6310E}" dt="2019-10-16T17:55:14.657" v="1641" actId="207"/>
          <ac:spMkLst>
            <pc:docMk/>
            <pc:sldMk cId="1926549241" sldId="2315"/>
            <ac:spMk id="47" creationId="{2C048C4B-C61A-40EA-8C0F-166CE8E4BD66}"/>
          </ac:spMkLst>
        </pc:spChg>
        <pc:spChg chg="mod">
          <ac:chgData name="Nicole Welch" userId="4bbf8b27-f36f-4029-b936-1f4b065af9e0" providerId="ADAL" clId="{ECA9C3CA-5503-447D-9886-71BEF1A6310E}" dt="2019-10-16T17:55:34.534" v="1643" actId="1076"/>
          <ac:spMkLst>
            <pc:docMk/>
            <pc:sldMk cId="1926549241" sldId="2315"/>
            <ac:spMk id="51" creationId="{2EC81DD8-F9BF-4187-B296-E5E636794710}"/>
          </ac:spMkLst>
        </pc:spChg>
        <pc:spChg chg="mod">
          <ac:chgData name="Nicole Welch" userId="4bbf8b27-f36f-4029-b936-1f4b065af9e0" providerId="ADAL" clId="{ECA9C3CA-5503-447D-9886-71BEF1A6310E}" dt="2019-10-16T17:55:14.657" v="1641" actId="207"/>
          <ac:spMkLst>
            <pc:docMk/>
            <pc:sldMk cId="1926549241" sldId="2315"/>
            <ac:spMk id="52" creationId="{875BA9CE-5A3A-4A6C-B181-310A5BDB9CFB}"/>
          </ac:spMkLst>
        </pc:spChg>
        <pc:grpChg chg="mod">
          <ac:chgData name="Nicole Welch" userId="4bbf8b27-f36f-4029-b936-1f4b065af9e0" providerId="ADAL" clId="{ECA9C3CA-5503-447D-9886-71BEF1A6310E}" dt="2019-10-16T17:55:03.135" v="1640" actId="1036"/>
          <ac:grpSpMkLst>
            <pc:docMk/>
            <pc:sldMk cId="1926549241" sldId="2315"/>
            <ac:grpSpMk id="17" creationId="{C441CEE7-83AB-4940-BBB1-550D9C3E0E8D}"/>
          </ac:grpSpMkLst>
        </pc:grpChg>
        <pc:grpChg chg="mod">
          <ac:chgData name="Nicole Welch" userId="4bbf8b27-f36f-4029-b936-1f4b065af9e0" providerId="ADAL" clId="{ECA9C3CA-5503-447D-9886-71BEF1A6310E}" dt="2019-10-16T17:55:03.135" v="1640" actId="1036"/>
          <ac:grpSpMkLst>
            <pc:docMk/>
            <pc:sldMk cId="1926549241" sldId="2315"/>
            <ac:grpSpMk id="20" creationId="{8114E2CF-7D75-40E0-BB6F-FBB57B29C07C}"/>
          </ac:grpSpMkLst>
        </pc:grpChg>
        <pc:grpChg chg="mod">
          <ac:chgData name="Nicole Welch" userId="4bbf8b27-f36f-4029-b936-1f4b065af9e0" providerId="ADAL" clId="{ECA9C3CA-5503-447D-9886-71BEF1A6310E}" dt="2019-10-16T17:55:03.135" v="1640" actId="1036"/>
          <ac:grpSpMkLst>
            <pc:docMk/>
            <pc:sldMk cId="1926549241" sldId="2315"/>
            <ac:grpSpMk id="23" creationId="{DC85CE87-7AA6-412D-9C90-D96E959461FA}"/>
          </ac:grpSpMkLst>
        </pc:grpChg>
        <pc:grpChg chg="mod">
          <ac:chgData name="Nicole Welch" userId="4bbf8b27-f36f-4029-b936-1f4b065af9e0" providerId="ADAL" clId="{ECA9C3CA-5503-447D-9886-71BEF1A6310E}" dt="2019-10-16T17:55:03.135" v="1640" actId="1036"/>
          <ac:grpSpMkLst>
            <pc:docMk/>
            <pc:sldMk cId="1926549241" sldId="2315"/>
            <ac:grpSpMk id="26" creationId="{A34B3B00-5243-4FB1-BEEE-E28729CD0580}"/>
          </ac:grpSpMkLst>
        </pc:grpChg>
        <pc:grpChg chg="mod">
          <ac:chgData name="Nicole Welch" userId="4bbf8b27-f36f-4029-b936-1f4b065af9e0" providerId="ADAL" clId="{ECA9C3CA-5503-447D-9886-71BEF1A6310E}" dt="2019-10-16T17:55:03.135" v="1640" actId="1036"/>
          <ac:grpSpMkLst>
            <pc:docMk/>
            <pc:sldMk cId="1926549241" sldId="2315"/>
            <ac:grpSpMk id="29" creationId="{746A8D7B-1C76-44C6-AC90-716144E035BE}"/>
          </ac:grpSpMkLst>
        </pc:grpChg>
        <pc:grpChg chg="mod">
          <ac:chgData name="Nicole Welch" userId="4bbf8b27-f36f-4029-b936-1f4b065af9e0" providerId="ADAL" clId="{ECA9C3CA-5503-447D-9886-71BEF1A6310E}" dt="2019-10-16T17:55:03.135" v="1640" actId="1036"/>
          <ac:grpSpMkLst>
            <pc:docMk/>
            <pc:sldMk cId="1926549241" sldId="2315"/>
            <ac:grpSpMk id="32" creationId="{1019882B-782A-4842-9A76-D47D3A4EAF3E}"/>
          </ac:grpSpMkLst>
        </pc:grpChg>
        <pc:grpChg chg="mod">
          <ac:chgData name="Nicole Welch" userId="4bbf8b27-f36f-4029-b936-1f4b065af9e0" providerId="ADAL" clId="{ECA9C3CA-5503-447D-9886-71BEF1A6310E}" dt="2019-10-16T17:55:03.135" v="1640" actId="1036"/>
          <ac:grpSpMkLst>
            <pc:docMk/>
            <pc:sldMk cId="1926549241" sldId="2315"/>
            <ac:grpSpMk id="35" creationId="{9BE530AB-C0A2-4BE8-A10E-0F12D0D181EB}"/>
          </ac:grpSpMkLst>
        </pc:grpChg>
        <pc:grpChg chg="mod">
          <ac:chgData name="Nicole Welch" userId="4bbf8b27-f36f-4029-b936-1f4b065af9e0" providerId="ADAL" clId="{ECA9C3CA-5503-447D-9886-71BEF1A6310E}" dt="2019-10-16T17:55:29.572" v="1642" actId="208"/>
          <ac:grpSpMkLst>
            <pc:docMk/>
            <pc:sldMk cId="1926549241" sldId="2315"/>
            <ac:grpSpMk id="38" creationId="{D802890D-10FB-4E99-9492-770422BF88C3}"/>
          </ac:grpSpMkLst>
        </pc:grpChg>
        <pc:grpChg chg="mod">
          <ac:chgData name="Nicole Welch" userId="4bbf8b27-f36f-4029-b936-1f4b065af9e0" providerId="ADAL" clId="{ECA9C3CA-5503-447D-9886-71BEF1A6310E}" dt="2019-10-16T17:55:29.572" v="1642" actId="208"/>
          <ac:grpSpMkLst>
            <pc:docMk/>
            <pc:sldMk cId="1926549241" sldId="2315"/>
            <ac:grpSpMk id="43" creationId="{D057838E-82AF-4261-9460-28E5CC5593AC}"/>
          </ac:grpSpMkLst>
        </pc:grpChg>
        <pc:grpChg chg="mod">
          <ac:chgData name="Nicole Welch" userId="4bbf8b27-f36f-4029-b936-1f4b065af9e0" providerId="ADAL" clId="{ECA9C3CA-5503-447D-9886-71BEF1A6310E}" dt="2019-10-16T17:55:03.135" v="1640" actId="1036"/>
          <ac:grpSpMkLst>
            <pc:docMk/>
            <pc:sldMk cId="1926549241" sldId="2315"/>
            <ac:grpSpMk id="48" creationId="{E1060B08-8B6D-4D33-B99E-E0F81F721231}"/>
          </ac:grpSpMkLst>
        </pc:grpChg>
        <pc:grpChg chg="mod">
          <ac:chgData name="Nicole Welch" userId="4bbf8b27-f36f-4029-b936-1f4b065af9e0" providerId="ADAL" clId="{ECA9C3CA-5503-447D-9886-71BEF1A6310E}" dt="2019-10-16T17:55:03.135" v="1640" actId="1036"/>
          <ac:grpSpMkLst>
            <pc:docMk/>
            <pc:sldMk cId="1926549241" sldId="2315"/>
            <ac:grpSpMk id="54" creationId="{CED6B828-E667-480F-8226-2B3B605E612E}"/>
          </ac:grpSpMkLst>
        </pc:grpChg>
        <pc:picChg chg="mod">
          <ac:chgData name="Nicole Welch" userId="4bbf8b27-f36f-4029-b936-1f4b065af9e0" providerId="ADAL" clId="{ECA9C3CA-5503-447D-9886-71BEF1A6310E}" dt="2019-10-16T17:54:50.990" v="1612" actId="1076"/>
          <ac:picMkLst>
            <pc:docMk/>
            <pc:sldMk cId="1926549241" sldId="2315"/>
            <ac:picMk id="57" creationId="{4B6943BA-FFDE-4451-8F60-AE0050753123}"/>
          </ac:picMkLst>
        </pc:picChg>
        <pc:cxnChg chg="mod">
          <ac:chgData name="Nicole Welch" userId="4bbf8b27-f36f-4029-b936-1f4b065af9e0" providerId="ADAL" clId="{ECA9C3CA-5503-447D-9886-71BEF1A6310E}" dt="2019-10-16T17:55:03.135" v="1640" actId="1036"/>
          <ac:cxnSpMkLst>
            <pc:docMk/>
            <pc:sldMk cId="1926549241" sldId="2315"/>
            <ac:cxnSpMk id="15" creationId="{14E060A6-C48A-4D1B-9E65-7BCBA736A3D9}"/>
          </ac:cxnSpMkLst>
        </pc:cxnChg>
        <pc:cxnChg chg="mod">
          <ac:chgData name="Nicole Welch" userId="4bbf8b27-f36f-4029-b936-1f4b065af9e0" providerId="ADAL" clId="{ECA9C3CA-5503-447D-9886-71BEF1A6310E}" dt="2019-10-16T17:55:03.135" v="1640" actId="1036"/>
          <ac:cxnSpMkLst>
            <pc:docMk/>
            <pc:sldMk cId="1926549241" sldId="2315"/>
            <ac:cxnSpMk id="16" creationId="{62242D50-0E82-423C-BAFA-9F82A986AF52}"/>
          </ac:cxnSpMkLst>
        </pc:cxnChg>
      </pc:sldChg>
      <pc:sldChg chg="del">
        <pc:chgData name="Nicole Welch" userId="4bbf8b27-f36f-4029-b936-1f4b065af9e0" providerId="ADAL" clId="{ECA9C3CA-5503-447D-9886-71BEF1A6310E}" dt="2019-10-16T17:59:49.948" v="1686" actId="47"/>
        <pc:sldMkLst>
          <pc:docMk/>
          <pc:sldMk cId="2993746540" sldId="2316"/>
        </pc:sldMkLst>
      </pc:sldChg>
      <pc:sldChg chg="addSp modSp">
        <pc:chgData name="Nicole Welch" userId="4bbf8b27-f36f-4029-b936-1f4b065af9e0" providerId="ADAL" clId="{ECA9C3CA-5503-447D-9886-71BEF1A6310E}" dt="2019-10-16T18:28:40.625" v="2143" actId="1076"/>
        <pc:sldMkLst>
          <pc:docMk/>
          <pc:sldMk cId="1368733695" sldId="2318"/>
        </pc:sldMkLst>
        <pc:spChg chg="mod">
          <ac:chgData name="Nicole Welch" userId="4bbf8b27-f36f-4029-b936-1f4b065af9e0" providerId="ADAL" clId="{ECA9C3CA-5503-447D-9886-71BEF1A6310E}" dt="2019-10-16T18:28:40.625" v="2143" actId="1076"/>
          <ac:spMkLst>
            <pc:docMk/>
            <pc:sldMk cId="1368733695" sldId="2318"/>
            <ac:spMk id="4" creationId="{1EEF0A0F-BA93-448F-B0F2-650D394C5121}"/>
          </ac:spMkLst>
        </pc:spChg>
        <pc:spChg chg="add mod">
          <ac:chgData name="Nicole Welch" userId="4bbf8b27-f36f-4029-b936-1f4b065af9e0" providerId="ADAL" clId="{ECA9C3CA-5503-447D-9886-71BEF1A6310E}" dt="2019-10-16T18:28:03.546" v="2138" actId="207"/>
          <ac:spMkLst>
            <pc:docMk/>
            <pc:sldMk cId="1368733695" sldId="2318"/>
            <ac:spMk id="42" creationId="{857DD6B5-EA1D-48F3-8D3B-9F49AA0B2033}"/>
          </ac:spMkLst>
        </pc:spChg>
        <pc:spChg chg="add mod">
          <ac:chgData name="Nicole Welch" userId="4bbf8b27-f36f-4029-b936-1f4b065af9e0" providerId="ADAL" clId="{ECA9C3CA-5503-447D-9886-71BEF1A6310E}" dt="2019-10-16T18:28:03.546" v="2138" actId="207"/>
          <ac:spMkLst>
            <pc:docMk/>
            <pc:sldMk cId="1368733695" sldId="2318"/>
            <ac:spMk id="44" creationId="{323DAA5F-8FD4-49A3-8DAD-C1CBC3E3F389}"/>
          </ac:spMkLst>
        </pc:spChg>
        <pc:spChg chg="mod">
          <ac:chgData name="Nicole Welch" userId="4bbf8b27-f36f-4029-b936-1f4b065af9e0" providerId="ADAL" clId="{ECA9C3CA-5503-447D-9886-71BEF1A6310E}" dt="2019-10-16T18:28:08.162" v="2139" actId="207"/>
          <ac:spMkLst>
            <pc:docMk/>
            <pc:sldMk cId="1368733695" sldId="2318"/>
            <ac:spMk id="46" creationId="{20FB718B-B29E-4BA5-9525-13DB94B12E91}"/>
          </ac:spMkLst>
        </pc:spChg>
        <pc:spChg chg="mod">
          <ac:chgData name="Nicole Welch" userId="4bbf8b27-f36f-4029-b936-1f4b065af9e0" providerId="ADAL" clId="{ECA9C3CA-5503-447D-9886-71BEF1A6310E}" dt="2019-10-16T18:28:32.375" v="2142" actId="207"/>
          <ac:spMkLst>
            <pc:docMk/>
            <pc:sldMk cId="1368733695" sldId="2318"/>
            <ac:spMk id="79" creationId="{643F4F3C-1AFD-40E8-BE66-196404DD847C}"/>
          </ac:spMkLst>
        </pc:spChg>
        <pc:spChg chg="mod">
          <ac:chgData name="Nicole Welch" userId="4bbf8b27-f36f-4029-b936-1f4b065af9e0" providerId="ADAL" clId="{ECA9C3CA-5503-447D-9886-71BEF1A6310E}" dt="2019-10-16T18:28:32.375" v="2142" actId="207"/>
          <ac:spMkLst>
            <pc:docMk/>
            <pc:sldMk cId="1368733695" sldId="2318"/>
            <ac:spMk id="82" creationId="{45B492B9-7AEF-42FD-9DAC-FD120B2B3E6E}"/>
          </ac:spMkLst>
        </pc:spChg>
        <pc:spChg chg="mod">
          <ac:chgData name="Nicole Welch" userId="4bbf8b27-f36f-4029-b936-1f4b065af9e0" providerId="ADAL" clId="{ECA9C3CA-5503-447D-9886-71BEF1A6310E}" dt="2019-10-16T18:28:32.375" v="2142" actId="207"/>
          <ac:spMkLst>
            <pc:docMk/>
            <pc:sldMk cId="1368733695" sldId="2318"/>
            <ac:spMk id="84" creationId="{97CAE637-E2AB-4D2B-AFDF-8D1D5E0DB795}"/>
          </ac:spMkLst>
        </pc:spChg>
        <pc:grpChg chg="mod">
          <ac:chgData name="Nicole Welch" userId="4bbf8b27-f36f-4029-b936-1f4b065af9e0" providerId="ADAL" clId="{ECA9C3CA-5503-447D-9886-71BEF1A6310E}" dt="2019-10-16T18:28:01.205" v="2137" actId="571"/>
          <ac:grpSpMkLst>
            <pc:docMk/>
            <pc:sldMk cId="1368733695" sldId="2318"/>
            <ac:grpSpMk id="5" creationId="{18358BB6-33E4-45F0-B32A-9CFA2FEBD03B}"/>
          </ac:grpSpMkLst>
        </pc:grpChg>
        <pc:grpChg chg="mod">
          <ac:chgData name="Nicole Welch" userId="4bbf8b27-f36f-4029-b936-1f4b065af9e0" providerId="ADAL" clId="{ECA9C3CA-5503-447D-9886-71BEF1A6310E}" dt="2019-10-16T18:28:01.205" v="2137" actId="571"/>
          <ac:grpSpMkLst>
            <pc:docMk/>
            <pc:sldMk cId="1368733695" sldId="2318"/>
            <ac:grpSpMk id="35" creationId="{4ECB5671-B66C-4614-A8F1-2C413CE5DD18}"/>
          </ac:grpSpMkLst>
        </pc:grpChg>
        <pc:grpChg chg="mod">
          <ac:chgData name="Nicole Welch" userId="4bbf8b27-f36f-4029-b936-1f4b065af9e0" providerId="ADAL" clId="{ECA9C3CA-5503-447D-9886-71BEF1A6310E}" dt="2019-10-16T18:28:01.205" v="2137" actId="571"/>
          <ac:grpSpMkLst>
            <pc:docMk/>
            <pc:sldMk cId="1368733695" sldId="2318"/>
            <ac:grpSpMk id="39" creationId="{ACB0FE73-CAE0-465D-912C-36BB71F592EC}"/>
          </ac:grpSpMkLst>
        </pc:grpChg>
        <pc:grpChg chg="mod">
          <ac:chgData name="Nicole Welch" userId="4bbf8b27-f36f-4029-b936-1f4b065af9e0" providerId="ADAL" clId="{ECA9C3CA-5503-447D-9886-71BEF1A6310E}" dt="2019-10-16T18:28:11.267" v="2140" actId="207"/>
          <ac:grpSpMkLst>
            <pc:docMk/>
            <pc:sldMk cId="1368733695" sldId="2318"/>
            <ac:grpSpMk id="77" creationId="{6701F1B9-9603-4B36-9A29-721BEE624108}"/>
          </ac:grpSpMkLst>
        </pc:grpChg>
        <pc:picChg chg="mod">
          <ac:chgData name="Nicole Welch" userId="4bbf8b27-f36f-4029-b936-1f4b065af9e0" providerId="ADAL" clId="{ECA9C3CA-5503-447D-9886-71BEF1A6310E}" dt="2019-10-16T18:26:50.547" v="2129" actId="1076"/>
          <ac:picMkLst>
            <pc:docMk/>
            <pc:sldMk cId="1368733695" sldId="2318"/>
            <ac:picMk id="43" creationId="{7C603015-AF13-41F7-831E-EA027D3EF69A}"/>
          </ac:picMkLst>
        </pc:picChg>
        <pc:picChg chg="mod">
          <ac:chgData name="Nicole Welch" userId="4bbf8b27-f36f-4029-b936-1f4b065af9e0" providerId="ADAL" clId="{ECA9C3CA-5503-447D-9886-71BEF1A6310E}" dt="2019-10-16T18:28:26.255" v="2141" actId="208"/>
          <ac:picMkLst>
            <pc:docMk/>
            <pc:sldMk cId="1368733695" sldId="2318"/>
            <ac:picMk id="57" creationId="{CFE63643-FA35-4FFA-B6A3-81533C66D538}"/>
          </ac:picMkLst>
        </pc:picChg>
        <pc:picChg chg="mod">
          <ac:chgData name="Nicole Welch" userId="4bbf8b27-f36f-4029-b936-1f4b065af9e0" providerId="ADAL" clId="{ECA9C3CA-5503-447D-9886-71BEF1A6310E}" dt="2019-10-16T18:28:26.255" v="2141" actId="208"/>
          <ac:picMkLst>
            <pc:docMk/>
            <pc:sldMk cId="1368733695" sldId="2318"/>
            <ac:picMk id="61" creationId="{AEB83800-C09B-4B49-9F30-97121C5A6DA7}"/>
          </ac:picMkLst>
        </pc:picChg>
        <pc:picChg chg="mod">
          <ac:chgData name="Nicole Welch" userId="4bbf8b27-f36f-4029-b936-1f4b065af9e0" providerId="ADAL" clId="{ECA9C3CA-5503-447D-9886-71BEF1A6310E}" dt="2019-10-16T18:28:26.255" v="2141" actId="208"/>
          <ac:picMkLst>
            <pc:docMk/>
            <pc:sldMk cId="1368733695" sldId="2318"/>
            <ac:picMk id="64" creationId="{ED1B9D8D-2FCF-4BE5-AC53-A99AE6AB195D}"/>
          </ac:picMkLst>
        </pc:picChg>
        <pc:picChg chg="mod">
          <ac:chgData name="Nicole Welch" userId="4bbf8b27-f36f-4029-b936-1f4b065af9e0" providerId="ADAL" clId="{ECA9C3CA-5503-447D-9886-71BEF1A6310E}" dt="2019-10-16T18:28:26.255" v="2141" actId="208"/>
          <ac:picMkLst>
            <pc:docMk/>
            <pc:sldMk cId="1368733695" sldId="2318"/>
            <ac:picMk id="67" creationId="{8C5D45C2-35C5-47C5-BB72-ADF20431BBD0}"/>
          </ac:picMkLst>
        </pc:picChg>
      </pc:sldChg>
      <pc:sldChg chg="del">
        <pc:chgData name="Nicole Welch" userId="4bbf8b27-f36f-4029-b936-1f4b065af9e0" providerId="ADAL" clId="{ECA9C3CA-5503-447D-9886-71BEF1A6310E}" dt="2019-10-16T18:00:02.032" v="1688" actId="47"/>
        <pc:sldMkLst>
          <pc:docMk/>
          <pc:sldMk cId="695111791" sldId="2319"/>
        </pc:sldMkLst>
      </pc:sldChg>
      <pc:sldChg chg="del">
        <pc:chgData name="Nicole Welch" userId="4bbf8b27-f36f-4029-b936-1f4b065af9e0" providerId="ADAL" clId="{ECA9C3CA-5503-447D-9886-71BEF1A6310E}" dt="2019-10-16T17:58:48.684" v="1678" actId="47"/>
        <pc:sldMkLst>
          <pc:docMk/>
          <pc:sldMk cId="1767911391" sldId="2792"/>
        </pc:sldMkLst>
      </pc:sldChg>
      <pc:sldChg chg="modSp del">
        <pc:chgData name="Nicole Welch" userId="4bbf8b27-f36f-4029-b936-1f4b065af9e0" providerId="ADAL" clId="{ECA9C3CA-5503-447D-9886-71BEF1A6310E}" dt="2019-10-16T17:58:51.374" v="1679" actId="47"/>
        <pc:sldMkLst>
          <pc:docMk/>
          <pc:sldMk cId="384764762" sldId="2793"/>
        </pc:sldMkLst>
        <pc:spChg chg="mod">
          <ac:chgData name="Nicole Welch" userId="4bbf8b27-f36f-4029-b936-1f4b065af9e0" providerId="ADAL" clId="{ECA9C3CA-5503-447D-9886-71BEF1A6310E}" dt="2019-10-16T16:59:21.966" v="628" actId="27636"/>
          <ac:spMkLst>
            <pc:docMk/>
            <pc:sldMk cId="384764762" sldId="2793"/>
            <ac:spMk id="3" creationId="{BE2BE807-4003-42B1-B8EE-F63B100AF780}"/>
          </ac:spMkLst>
        </pc:spChg>
      </pc:sldChg>
      <pc:sldChg chg="addSp delSp modSp mod modClrScheme chgLayout">
        <pc:chgData name="Nicole Welch" userId="4bbf8b27-f36f-4029-b936-1f4b065af9e0" providerId="ADAL" clId="{ECA9C3CA-5503-447D-9886-71BEF1A6310E}" dt="2019-10-16T19:58:50.766" v="2504" actId="20577"/>
        <pc:sldMkLst>
          <pc:docMk/>
          <pc:sldMk cId="2587744755" sldId="2794"/>
        </pc:sldMkLst>
        <pc:spChg chg="add mod ord">
          <ac:chgData name="Nicole Welch" userId="4bbf8b27-f36f-4029-b936-1f4b065af9e0" providerId="ADAL" clId="{ECA9C3CA-5503-447D-9886-71BEF1A6310E}" dt="2019-10-16T19:58:50.766" v="2504" actId="20577"/>
          <ac:spMkLst>
            <pc:docMk/>
            <pc:sldMk cId="2587744755" sldId="2794"/>
            <ac:spMk id="2" creationId="{013D0417-4D44-48F9-B673-00808C6D640D}"/>
          </ac:spMkLst>
        </pc:spChg>
        <pc:spChg chg="add mod ord">
          <ac:chgData name="Nicole Welch" userId="4bbf8b27-f36f-4029-b936-1f4b065af9e0" providerId="ADAL" clId="{ECA9C3CA-5503-447D-9886-71BEF1A6310E}" dt="2019-10-16T19:57:25.849" v="2484" actId="20577"/>
          <ac:spMkLst>
            <pc:docMk/>
            <pc:sldMk cId="2587744755" sldId="2794"/>
            <ac:spMk id="3" creationId="{857C8272-B662-48B7-8803-42488D63E139}"/>
          </ac:spMkLst>
        </pc:spChg>
        <pc:picChg chg="del mod">
          <ac:chgData name="Nicole Welch" userId="4bbf8b27-f36f-4029-b936-1f4b065af9e0" providerId="ADAL" clId="{ECA9C3CA-5503-447D-9886-71BEF1A6310E}" dt="2019-10-16T18:01:52.948" v="2075" actId="478"/>
          <ac:picMkLst>
            <pc:docMk/>
            <pc:sldMk cId="2587744755" sldId="2794"/>
            <ac:picMk id="5" creationId="{6FBFAE31-0D1C-4079-A1B0-C55638D2BD20}"/>
          </ac:picMkLst>
        </pc:picChg>
      </pc:sldChg>
      <pc:sldChg chg="addSp delSp modSp">
        <pc:chgData name="Nicole Welch" userId="4bbf8b27-f36f-4029-b936-1f4b065af9e0" providerId="ADAL" clId="{ECA9C3CA-5503-447D-9886-71BEF1A6310E}" dt="2019-10-16T19:47:50.771" v="2464" actId="20577"/>
        <pc:sldMkLst>
          <pc:docMk/>
          <pc:sldMk cId="4138591048" sldId="4479"/>
        </pc:sldMkLst>
        <pc:spChg chg="mod">
          <ac:chgData name="Nicole Welch" userId="4bbf8b27-f36f-4029-b936-1f4b065af9e0" providerId="ADAL" clId="{ECA9C3CA-5503-447D-9886-71BEF1A6310E}" dt="2019-10-16T17:22:00.935" v="690" actId="14100"/>
          <ac:spMkLst>
            <pc:docMk/>
            <pc:sldMk cId="4138591048" sldId="4479"/>
            <ac:spMk id="2" creationId="{F6BF6460-40C5-4061-AB70-848586ACEB37}"/>
          </ac:spMkLst>
        </pc:spChg>
        <pc:spChg chg="mod">
          <ac:chgData name="Nicole Welch" userId="4bbf8b27-f36f-4029-b936-1f4b065af9e0" providerId="ADAL" clId="{ECA9C3CA-5503-447D-9886-71BEF1A6310E}" dt="2019-10-16T19:47:50.771" v="2464" actId="20577"/>
          <ac:spMkLst>
            <pc:docMk/>
            <pc:sldMk cId="4138591048" sldId="4479"/>
            <ac:spMk id="10" creationId="{22855FC9-0CCF-4381-97B7-0DC97AEA9D24}"/>
          </ac:spMkLst>
        </pc:spChg>
        <pc:spChg chg="mod">
          <ac:chgData name="Nicole Welch" userId="4bbf8b27-f36f-4029-b936-1f4b065af9e0" providerId="ADAL" clId="{ECA9C3CA-5503-447D-9886-71BEF1A6310E}" dt="2019-10-16T17:20:50.455" v="673" actId="208"/>
          <ac:spMkLst>
            <pc:docMk/>
            <pc:sldMk cId="4138591048" sldId="4479"/>
            <ac:spMk id="27" creationId="{009E9A6C-F682-4DEB-B444-7E16A916852F}"/>
          </ac:spMkLst>
        </pc:spChg>
        <pc:spChg chg="mod">
          <ac:chgData name="Nicole Welch" userId="4bbf8b27-f36f-4029-b936-1f4b065af9e0" providerId="ADAL" clId="{ECA9C3CA-5503-447D-9886-71BEF1A6310E}" dt="2019-10-16T17:21:26.296" v="677" actId="2085"/>
          <ac:spMkLst>
            <pc:docMk/>
            <pc:sldMk cId="4138591048" sldId="4479"/>
            <ac:spMk id="29" creationId="{6C05D993-E837-4C98-92E6-FF8FAB1D1CE5}"/>
          </ac:spMkLst>
        </pc:spChg>
        <pc:spChg chg="mod">
          <ac:chgData name="Nicole Welch" userId="4bbf8b27-f36f-4029-b936-1f4b065af9e0" providerId="ADAL" clId="{ECA9C3CA-5503-447D-9886-71BEF1A6310E}" dt="2019-10-16T17:21:31.371" v="678" actId="2085"/>
          <ac:spMkLst>
            <pc:docMk/>
            <pc:sldMk cId="4138591048" sldId="4479"/>
            <ac:spMk id="32" creationId="{E178027B-D40D-42BF-A736-21ABA81529EB}"/>
          </ac:spMkLst>
        </pc:spChg>
        <pc:spChg chg="del">
          <ac:chgData name="Nicole Welch" userId="4bbf8b27-f36f-4029-b936-1f4b065af9e0" providerId="ADAL" clId="{ECA9C3CA-5503-447D-9886-71BEF1A6310E}" dt="2019-10-16T16:20:31.301" v="2" actId="478"/>
          <ac:spMkLst>
            <pc:docMk/>
            <pc:sldMk cId="4138591048" sldId="4479"/>
            <ac:spMk id="34" creationId="{3A33413D-446A-4DD9-8CB5-379F9F20D565}"/>
          </ac:spMkLst>
        </pc:spChg>
        <pc:spChg chg="del">
          <ac:chgData name="Nicole Welch" userId="4bbf8b27-f36f-4029-b936-1f4b065af9e0" providerId="ADAL" clId="{ECA9C3CA-5503-447D-9886-71BEF1A6310E}" dt="2019-10-16T16:20:38.748" v="5" actId="478"/>
          <ac:spMkLst>
            <pc:docMk/>
            <pc:sldMk cId="4138591048" sldId="4479"/>
            <ac:spMk id="35" creationId="{F5D17496-A2AC-49A8-A43A-29D6FECF4D05}"/>
          </ac:spMkLst>
        </pc:spChg>
        <pc:spChg chg="mod">
          <ac:chgData name="Nicole Welch" userId="4bbf8b27-f36f-4029-b936-1f4b065af9e0" providerId="ADAL" clId="{ECA9C3CA-5503-447D-9886-71BEF1A6310E}" dt="2019-10-16T16:27:00.623" v="154" actId="1038"/>
          <ac:spMkLst>
            <pc:docMk/>
            <pc:sldMk cId="4138591048" sldId="4479"/>
            <ac:spMk id="40" creationId="{40917FCB-FE26-4CD2-86B9-854F5176D692}"/>
          </ac:spMkLst>
        </pc:spChg>
        <pc:spChg chg="mod">
          <ac:chgData name="Nicole Welch" userId="4bbf8b27-f36f-4029-b936-1f4b065af9e0" providerId="ADAL" clId="{ECA9C3CA-5503-447D-9886-71BEF1A6310E}" dt="2019-10-16T17:21:02.017" v="674" actId="207"/>
          <ac:spMkLst>
            <pc:docMk/>
            <pc:sldMk cId="4138591048" sldId="4479"/>
            <ac:spMk id="41" creationId="{2F1D7D66-F396-4195-8ABD-8B5CD25B9640}"/>
          </ac:spMkLst>
        </pc:spChg>
        <pc:spChg chg="del">
          <ac:chgData name="Nicole Welch" userId="4bbf8b27-f36f-4029-b936-1f4b065af9e0" providerId="ADAL" clId="{ECA9C3CA-5503-447D-9886-71BEF1A6310E}" dt="2019-10-16T16:20:38.748" v="5" actId="478"/>
          <ac:spMkLst>
            <pc:docMk/>
            <pc:sldMk cId="4138591048" sldId="4479"/>
            <ac:spMk id="42" creationId="{524E4218-1D5F-49D7-9235-CFCC93F12ACF}"/>
          </ac:spMkLst>
        </pc:spChg>
        <pc:spChg chg="mod">
          <ac:chgData name="Nicole Welch" userId="4bbf8b27-f36f-4029-b936-1f4b065af9e0" providerId="ADAL" clId="{ECA9C3CA-5503-447D-9886-71BEF1A6310E}" dt="2019-10-16T17:21:02.017" v="674" actId="207"/>
          <ac:spMkLst>
            <pc:docMk/>
            <pc:sldMk cId="4138591048" sldId="4479"/>
            <ac:spMk id="43" creationId="{411B0740-B1A2-4BE3-983C-26F10E2093FF}"/>
          </ac:spMkLst>
        </pc:spChg>
        <pc:spChg chg="mod">
          <ac:chgData name="Nicole Welch" userId="4bbf8b27-f36f-4029-b936-1f4b065af9e0" providerId="ADAL" clId="{ECA9C3CA-5503-447D-9886-71BEF1A6310E}" dt="2019-10-16T17:21:02.017" v="674" actId="207"/>
          <ac:spMkLst>
            <pc:docMk/>
            <pc:sldMk cId="4138591048" sldId="4479"/>
            <ac:spMk id="44" creationId="{20ACC074-E790-47E8-95B1-BB3E50C1461E}"/>
          </ac:spMkLst>
        </pc:spChg>
        <pc:spChg chg="mod">
          <ac:chgData name="Nicole Welch" userId="4bbf8b27-f36f-4029-b936-1f4b065af9e0" providerId="ADAL" clId="{ECA9C3CA-5503-447D-9886-71BEF1A6310E}" dt="2019-10-16T17:21:02.017" v="674" actId="207"/>
          <ac:spMkLst>
            <pc:docMk/>
            <pc:sldMk cId="4138591048" sldId="4479"/>
            <ac:spMk id="45" creationId="{90DDCABC-8CA3-40AC-BE33-C9872AE9C56E}"/>
          </ac:spMkLst>
        </pc:spChg>
        <pc:spChg chg="add mod">
          <ac:chgData name="Nicole Welch" userId="4bbf8b27-f36f-4029-b936-1f4b065af9e0" providerId="ADAL" clId="{ECA9C3CA-5503-447D-9886-71BEF1A6310E}" dt="2019-10-16T17:21:02.017" v="674" actId="207"/>
          <ac:spMkLst>
            <pc:docMk/>
            <pc:sldMk cId="4138591048" sldId="4479"/>
            <ac:spMk id="51" creationId="{DF4527B0-2E3A-41C3-B0B4-FA79324BA8D2}"/>
          </ac:spMkLst>
        </pc:spChg>
        <pc:spChg chg="mod">
          <ac:chgData name="Nicole Welch" userId="4bbf8b27-f36f-4029-b936-1f4b065af9e0" providerId="ADAL" clId="{ECA9C3CA-5503-447D-9886-71BEF1A6310E}" dt="2019-10-16T16:27:19.870" v="227" actId="20577"/>
          <ac:spMkLst>
            <pc:docMk/>
            <pc:sldMk cId="4138591048" sldId="4479"/>
            <ac:spMk id="138" creationId="{477616BE-EE5A-48AE-BAC7-2DE32CC5E8AC}"/>
          </ac:spMkLst>
        </pc:spChg>
        <pc:spChg chg="mod">
          <ac:chgData name="Nicole Welch" userId="4bbf8b27-f36f-4029-b936-1f4b065af9e0" providerId="ADAL" clId="{ECA9C3CA-5503-447D-9886-71BEF1A6310E}" dt="2019-10-16T16:27:31.271" v="228"/>
          <ac:spMkLst>
            <pc:docMk/>
            <pc:sldMk cId="4138591048" sldId="4479"/>
            <ac:spMk id="142" creationId="{7A7BC790-D8AC-4E17-8F64-D641E3D56C18}"/>
          </ac:spMkLst>
        </pc:spChg>
        <pc:grpChg chg="mod">
          <ac:chgData name="Nicole Welch" userId="4bbf8b27-f36f-4029-b936-1f4b065af9e0" providerId="ADAL" clId="{ECA9C3CA-5503-447D-9886-71BEF1A6310E}" dt="2019-10-16T17:21:02.017" v="674" actId="207"/>
          <ac:grpSpMkLst>
            <pc:docMk/>
            <pc:sldMk cId="4138591048" sldId="4479"/>
            <ac:grpSpMk id="4" creationId="{E45D4A84-0A36-421E-B97C-FAF1D1A5D12B}"/>
          </ac:grpSpMkLst>
        </pc:grpChg>
        <pc:grpChg chg="mod">
          <ac:chgData name="Nicole Welch" userId="4bbf8b27-f36f-4029-b936-1f4b065af9e0" providerId="ADAL" clId="{ECA9C3CA-5503-447D-9886-71BEF1A6310E}" dt="2019-10-16T17:21:02.017" v="674" actId="207"/>
          <ac:grpSpMkLst>
            <pc:docMk/>
            <pc:sldMk cId="4138591048" sldId="4479"/>
            <ac:grpSpMk id="5" creationId="{C3C64DCE-D1A2-4926-B12E-696C32867564}"/>
          </ac:grpSpMkLst>
        </pc:grpChg>
        <pc:grpChg chg="mod">
          <ac:chgData name="Nicole Welch" userId="4bbf8b27-f36f-4029-b936-1f4b065af9e0" providerId="ADAL" clId="{ECA9C3CA-5503-447D-9886-71BEF1A6310E}" dt="2019-10-16T17:21:02.017" v="674" actId="207"/>
          <ac:grpSpMkLst>
            <pc:docMk/>
            <pc:sldMk cId="4138591048" sldId="4479"/>
            <ac:grpSpMk id="19" creationId="{D2F93413-707B-4193-A7AD-16DD11498EC3}"/>
          </ac:grpSpMkLst>
        </pc:grpChg>
        <pc:grpChg chg="del">
          <ac:chgData name="Nicole Welch" userId="4bbf8b27-f36f-4029-b936-1f4b065af9e0" providerId="ADAL" clId="{ECA9C3CA-5503-447D-9886-71BEF1A6310E}" dt="2019-10-16T16:20:38.748" v="5" actId="478"/>
          <ac:grpSpMkLst>
            <pc:docMk/>
            <pc:sldMk cId="4138591048" sldId="4479"/>
            <ac:grpSpMk id="20" creationId="{DA14D7C2-0ECD-41DE-9CF7-BD1AC476BB47}"/>
          </ac:grpSpMkLst>
        </pc:grpChg>
        <pc:grpChg chg="mod">
          <ac:chgData name="Nicole Welch" userId="4bbf8b27-f36f-4029-b936-1f4b065af9e0" providerId="ADAL" clId="{ECA9C3CA-5503-447D-9886-71BEF1A6310E}" dt="2019-10-16T17:21:02.017" v="674" actId="207"/>
          <ac:grpSpMkLst>
            <pc:docMk/>
            <pc:sldMk cId="4138591048" sldId="4479"/>
            <ac:grpSpMk id="21" creationId="{513B25BA-E139-4327-8ADC-21C649B56902}"/>
          </ac:grpSpMkLst>
        </pc:grpChg>
        <pc:grpChg chg="add mod">
          <ac:chgData name="Nicole Welch" userId="4bbf8b27-f36f-4029-b936-1f4b065af9e0" providerId="ADAL" clId="{ECA9C3CA-5503-447D-9886-71BEF1A6310E}" dt="2019-10-16T17:21:02.017" v="674" actId="207"/>
          <ac:grpSpMkLst>
            <pc:docMk/>
            <pc:sldMk cId="4138591048" sldId="4479"/>
            <ac:grpSpMk id="46" creationId="{E94DB9B4-823A-4B85-A244-A8F4A23B4439}"/>
          </ac:grpSpMkLst>
        </pc:grpChg>
        <pc:picChg chg="mod">
          <ac:chgData name="Nicole Welch" userId="4bbf8b27-f36f-4029-b936-1f4b065af9e0" providerId="ADAL" clId="{ECA9C3CA-5503-447D-9886-71BEF1A6310E}" dt="2019-10-16T17:21:02.017" v="674" actId="207"/>
          <ac:picMkLst>
            <pc:docMk/>
            <pc:sldMk cId="4138591048" sldId="4479"/>
            <ac:picMk id="36" creationId="{FE389A63-D607-4BCB-94EB-EAC090BAA4D4}"/>
          </ac:picMkLst>
        </pc:picChg>
        <pc:picChg chg="mod">
          <ac:chgData name="Nicole Welch" userId="4bbf8b27-f36f-4029-b936-1f4b065af9e0" providerId="ADAL" clId="{ECA9C3CA-5503-447D-9886-71BEF1A6310E}" dt="2019-10-16T17:21:02.017" v="674" actId="207"/>
          <ac:picMkLst>
            <pc:docMk/>
            <pc:sldMk cId="4138591048" sldId="4479"/>
            <ac:picMk id="37" creationId="{21E8C59B-4A13-4142-BDED-4C829900FAE8}"/>
          </ac:picMkLst>
        </pc:picChg>
        <pc:picChg chg="del mod">
          <ac:chgData name="Nicole Welch" userId="4bbf8b27-f36f-4029-b936-1f4b065af9e0" providerId="ADAL" clId="{ECA9C3CA-5503-447D-9886-71BEF1A6310E}" dt="2019-10-16T16:20:38.748" v="5" actId="478"/>
          <ac:picMkLst>
            <pc:docMk/>
            <pc:sldMk cId="4138591048" sldId="4479"/>
            <ac:picMk id="38" creationId="{C29F4844-BADE-4536-AD4A-798EE4E30688}"/>
          </ac:picMkLst>
        </pc:picChg>
        <pc:picChg chg="mod">
          <ac:chgData name="Nicole Welch" userId="4bbf8b27-f36f-4029-b936-1f4b065af9e0" providerId="ADAL" clId="{ECA9C3CA-5503-447D-9886-71BEF1A6310E}" dt="2019-10-16T17:21:02.017" v="674" actId="207"/>
          <ac:picMkLst>
            <pc:docMk/>
            <pc:sldMk cId="4138591048" sldId="4479"/>
            <ac:picMk id="39" creationId="{9AE844EC-9C61-4AE3-97AB-88CEDE22FE44}"/>
          </ac:picMkLst>
        </pc:picChg>
        <pc:picChg chg="add mod">
          <ac:chgData name="Nicole Welch" userId="4bbf8b27-f36f-4029-b936-1f4b065af9e0" providerId="ADAL" clId="{ECA9C3CA-5503-447D-9886-71BEF1A6310E}" dt="2019-10-16T17:21:02.017" v="674" actId="207"/>
          <ac:picMkLst>
            <pc:docMk/>
            <pc:sldMk cId="4138591048" sldId="4479"/>
            <ac:picMk id="50" creationId="{2612D4C5-8439-45D1-9BB2-7D9F79D3097D}"/>
          </ac:picMkLst>
        </pc:picChg>
        <pc:cxnChg chg="mod">
          <ac:chgData name="Nicole Welch" userId="4bbf8b27-f36f-4029-b936-1f4b065af9e0" providerId="ADAL" clId="{ECA9C3CA-5503-447D-9886-71BEF1A6310E}" dt="2019-10-16T17:21:41.807" v="680" actId="208"/>
          <ac:cxnSpMkLst>
            <pc:docMk/>
            <pc:sldMk cId="4138591048" sldId="4479"/>
            <ac:cxnSpMk id="31" creationId="{7DB5BB6A-6644-40C9-B14C-3B8E10E493B0}"/>
          </ac:cxnSpMkLst>
        </pc:cxnChg>
      </pc:sldChg>
      <pc:sldChg chg="del">
        <pc:chgData name="Nicole Welch" userId="4bbf8b27-f36f-4029-b936-1f4b065af9e0" providerId="ADAL" clId="{ECA9C3CA-5503-447D-9886-71BEF1A6310E}" dt="2019-10-16T18:29:22.690" v="2166" actId="47"/>
        <pc:sldMkLst>
          <pc:docMk/>
          <pc:sldMk cId="1847093003" sldId="4481"/>
        </pc:sldMkLst>
      </pc:sldChg>
      <pc:sldChg chg="modSp">
        <pc:chgData name="Nicole Welch" userId="4bbf8b27-f36f-4029-b936-1f4b065af9e0" providerId="ADAL" clId="{ECA9C3CA-5503-447D-9886-71BEF1A6310E}" dt="2019-10-16T17:33:18.765" v="900" actId="207"/>
        <pc:sldMkLst>
          <pc:docMk/>
          <pc:sldMk cId="247676524" sldId="4510"/>
        </pc:sldMkLst>
        <pc:spChg chg="mod">
          <ac:chgData name="Nicole Welch" userId="4bbf8b27-f36f-4029-b936-1f4b065af9e0" providerId="ADAL" clId="{ECA9C3CA-5503-447D-9886-71BEF1A6310E}" dt="2019-10-16T17:33:13.780" v="899" actId="207"/>
          <ac:spMkLst>
            <pc:docMk/>
            <pc:sldMk cId="247676524" sldId="4510"/>
            <ac:spMk id="2" creationId="{4591ABA1-DB80-4003-9D56-1E263C0B339C}"/>
          </ac:spMkLst>
        </pc:spChg>
        <pc:spChg chg="mod">
          <ac:chgData name="Nicole Welch" userId="4bbf8b27-f36f-4029-b936-1f4b065af9e0" providerId="ADAL" clId="{ECA9C3CA-5503-447D-9886-71BEF1A6310E}" dt="2019-10-16T17:33:18.765" v="900" actId="207"/>
          <ac:spMkLst>
            <pc:docMk/>
            <pc:sldMk cId="247676524" sldId="4510"/>
            <ac:spMk id="4" creationId="{0993CD6B-7F4B-4A4E-B625-DDAA51AC0D3D}"/>
          </ac:spMkLst>
        </pc:spChg>
      </pc:sldChg>
      <pc:sldChg chg="modSp">
        <pc:chgData name="Nicole Welch" userId="4bbf8b27-f36f-4029-b936-1f4b065af9e0" providerId="ADAL" clId="{ECA9C3CA-5503-447D-9886-71BEF1A6310E}" dt="2019-10-16T16:51:45.222" v="583" actId="207"/>
        <pc:sldMkLst>
          <pc:docMk/>
          <pc:sldMk cId="710182464" sldId="4514"/>
        </pc:sldMkLst>
        <pc:spChg chg="mod">
          <ac:chgData name="Nicole Welch" userId="4bbf8b27-f36f-4029-b936-1f4b065af9e0" providerId="ADAL" clId="{ECA9C3CA-5503-447D-9886-71BEF1A6310E}" dt="2019-10-16T16:51:45.222" v="583" actId="207"/>
          <ac:spMkLst>
            <pc:docMk/>
            <pc:sldMk cId="710182464" sldId="4514"/>
            <ac:spMk id="13" creationId="{B9ABD5F8-2DD7-4458-A13E-48DE824E750B}"/>
          </ac:spMkLst>
        </pc:spChg>
      </pc:sldChg>
      <pc:sldChg chg="modSp del setBg">
        <pc:chgData name="Nicole Welch" userId="4bbf8b27-f36f-4029-b936-1f4b065af9e0" providerId="ADAL" clId="{ECA9C3CA-5503-447D-9886-71BEF1A6310E}" dt="2019-10-16T17:32:56.618" v="893" actId="47"/>
        <pc:sldMkLst>
          <pc:docMk/>
          <pc:sldMk cId="4245512558" sldId="4529"/>
        </pc:sldMkLst>
        <pc:spChg chg="mod">
          <ac:chgData name="Nicole Welch" userId="4bbf8b27-f36f-4029-b936-1f4b065af9e0" providerId="ADAL" clId="{ECA9C3CA-5503-447D-9886-71BEF1A6310E}" dt="2019-10-16T17:32:19.559" v="890" actId="207"/>
          <ac:spMkLst>
            <pc:docMk/>
            <pc:sldMk cId="4245512558" sldId="4529"/>
            <ac:spMk id="5" creationId="{1D63E0F1-1BB2-1D43-90AE-7612C2CA0610}"/>
          </ac:spMkLst>
        </pc:spChg>
      </pc:sldChg>
      <pc:sldChg chg="del mod modShow">
        <pc:chgData name="Nicole Welch" userId="4bbf8b27-f36f-4029-b936-1f4b065af9e0" providerId="ADAL" clId="{ECA9C3CA-5503-447D-9886-71BEF1A6310E}" dt="2019-10-16T17:23:31.405" v="796" actId="47"/>
        <pc:sldMkLst>
          <pc:docMk/>
          <pc:sldMk cId="4133487147" sldId="4539"/>
        </pc:sldMkLst>
      </pc:sldChg>
      <pc:sldChg chg="del">
        <pc:chgData name="Nicole Welch" userId="4bbf8b27-f36f-4029-b936-1f4b065af9e0" providerId="ADAL" clId="{ECA9C3CA-5503-447D-9886-71BEF1A6310E}" dt="2019-10-16T17:23:42.002" v="797" actId="47"/>
        <pc:sldMkLst>
          <pc:docMk/>
          <pc:sldMk cId="193090564" sldId="4547"/>
        </pc:sldMkLst>
      </pc:sldChg>
      <pc:sldChg chg="modSp add">
        <pc:chgData name="Nicole Welch" userId="4bbf8b27-f36f-4029-b936-1f4b065af9e0" providerId="ADAL" clId="{ECA9C3CA-5503-447D-9886-71BEF1A6310E}" dt="2019-10-16T16:53:35.549" v="594" actId="403"/>
        <pc:sldMkLst>
          <pc:docMk/>
          <pc:sldMk cId="2449729406" sldId="4550"/>
        </pc:sldMkLst>
        <pc:spChg chg="mod">
          <ac:chgData name="Nicole Welch" userId="4bbf8b27-f36f-4029-b936-1f4b065af9e0" providerId="ADAL" clId="{ECA9C3CA-5503-447D-9886-71BEF1A6310E}" dt="2019-10-16T16:53:35.549" v="594" actId="403"/>
          <ac:spMkLst>
            <pc:docMk/>
            <pc:sldMk cId="2449729406" sldId="4550"/>
            <ac:spMk id="5" creationId="{DFA27D6D-C399-43B1-BC64-56FA731B0E35}"/>
          </ac:spMkLst>
        </pc:spChg>
      </pc:sldChg>
      <pc:sldChg chg="addSp delSp modSp">
        <pc:chgData name="Nicole Welch" userId="4bbf8b27-f36f-4029-b936-1f4b065af9e0" providerId="ADAL" clId="{ECA9C3CA-5503-447D-9886-71BEF1A6310E}" dt="2019-10-16T19:55:06.146" v="2480" actId="13926"/>
        <pc:sldMkLst>
          <pc:docMk/>
          <pc:sldMk cId="559555736" sldId="4552"/>
        </pc:sldMkLst>
        <pc:spChg chg="mod">
          <ac:chgData name="Nicole Welch" userId="4bbf8b27-f36f-4029-b936-1f4b065af9e0" providerId="ADAL" clId="{ECA9C3CA-5503-447D-9886-71BEF1A6310E}" dt="2019-10-16T17:53:58.648" v="1591" actId="207"/>
          <ac:spMkLst>
            <pc:docMk/>
            <pc:sldMk cId="559555736" sldId="4552"/>
            <ac:spMk id="2" creationId="{F071E02F-D881-4B20-A60F-B7014A6F8008}"/>
          </ac:spMkLst>
        </pc:spChg>
        <pc:spChg chg="add mod">
          <ac:chgData name="Nicole Welch" userId="4bbf8b27-f36f-4029-b936-1f4b065af9e0" providerId="ADAL" clId="{ECA9C3CA-5503-447D-9886-71BEF1A6310E}" dt="2019-10-16T19:55:06.146" v="2480" actId="13926"/>
          <ac:spMkLst>
            <pc:docMk/>
            <pc:sldMk cId="559555736" sldId="4552"/>
            <ac:spMk id="3" creationId="{7C9D471C-2F57-4AAC-9DCD-95662D511313}"/>
          </ac:spMkLst>
        </pc:spChg>
        <pc:spChg chg="mod">
          <ac:chgData name="Nicole Welch" userId="4bbf8b27-f36f-4029-b936-1f4b065af9e0" providerId="ADAL" clId="{ECA9C3CA-5503-447D-9886-71BEF1A6310E}" dt="2019-10-16T17:53:34.166" v="1583" actId="1036"/>
          <ac:spMkLst>
            <pc:docMk/>
            <pc:sldMk cId="559555736" sldId="4552"/>
            <ac:spMk id="4" creationId="{DB12C939-28B6-4129-80C9-8B936DED4E40}"/>
          </ac:spMkLst>
        </pc:spChg>
        <pc:spChg chg="mod">
          <ac:chgData name="Nicole Welch" userId="4bbf8b27-f36f-4029-b936-1f4b065af9e0" providerId="ADAL" clId="{ECA9C3CA-5503-447D-9886-71BEF1A6310E}" dt="2019-10-16T17:53:34.166" v="1583" actId="1036"/>
          <ac:spMkLst>
            <pc:docMk/>
            <pc:sldMk cId="559555736" sldId="4552"/>
            <ac:spMk id="11" creationId="{68AD8A77-F18A-46CB-80A0-E5D0511BE893}"/>
          </ac:spMkLst>
        </pc:spChg>
        <pc:spChg chg="mod">
          <ac:chgData name="Nicole Welch" userId="4bbf8b27-f36f-4029-b936-1f4b065af9e0" providerId="ADAL" clId="{ECA9C3CA-5503-447D-9886-71BEF1A6310E}" dt="2019-10-16T17:53:34.166" v="1583" actId="1036"/>
          <ac:spMkLst>
            <pc:docMk/>
            <pc:sldMk cId="559555736" sldId="4552"/>
            <ac:spMk id="12" creationId="{7DEB7B30-75E9-4F4E-9FEE-A02C778CA20F}"/>
          </ac:spMkLst>
        </pc:spChg>
        <pc:spChg chg="mod">
          <ac:chgData name="Nicole Welch" userId="4bbf8b27-f36f-4029-b936-1f4b065af9e0" providerId="ADAL" clId="{ECA9C3CA-5503-447D-9886-71BEF1A6310E}" dt="2019-10-16T17:53:34.166" v="1583" actId="1036"/>
          <ac:spMkLst>
            <pc:docMk/>
            <pc:sldMk cId="559555736" sldId="4552"/>
            <ac:spMk id="13" creationId="{A65726BE-0462-466B-B521-40BC858AC48B}"/>
          </ac:spMkLst>
        </pc:spChg>
        <pc:spChg chg="del">
          <ac:chgData name="Nicole Welch" userId="4bbf8b27-f36f-4029-b936-1f4b065af9e0" providerId="ADAL" clId="{ECA9C3CA-5503-447D-9886-71BEF1A6310E}" dt="2019-10-16T17:53:49.782" v="1586" actId="478"/>
          <ac:spMkLst>
            <pc:docMk/>
            <pc:sldMk cId="559555736" sldId="4552"/>
            <ac:spMk id="42" creationId="{16D953EB-C15B-4F05-BC24-AF15C36E6CF1}"/>
          </ac:spMkLst>
        </pc:spChg>
        <pc:spChg chg="del">
          <ac:chgData name="Nicole Welch" userId="4bbf8b27-f36f-4029-b936-1f4b065af9e0" providerId="ADAL" clId="{ECA9C3CA-5503-447D-9886-71BEF1A6310E}" dt="2019-10-16T17:53:55.419" v="1590" actId="478"/>
          <ac:spMkLst>
            <pc:docMk/>
            <pc:sldMk cId="559555736" sldId="4552"/>
            <ac:spMk id="43" creationId="{9872AE05-389C-4147-B061-C18F53F0F543}"/>
          </ac:spMkLst>
        </pc:spChg>
        <pc:spChg chg="del">
          <ac:chgData name="Nicole Welch" userId="4bbf8b27-f36f-4029-b936-1f4b065af9e0" providerId="ADAL" clId="{ECA9C3CA-5503-447D-9886-71BEF1A6310E}" dt="2019-10-16T17:53:53.503" v="1588" actId="478"/>
          <ac:spMkLst>
            <pc:docMk/>
            <pc:sldMk cId="559555736" sldId="4552"/>
            <ac:spMk id="44" creationId="{4C72B1D6-AA96-49AE-B62A-7DC88FDD3BB9}"/>
          </ac:spMkLst>
        </pc:spChg>
        <pc:grpChg chg="del">
          <ac:chgData name="Nicole Welch" userId="4bbf8b27-f36f-4029-b936-1f4b065af9e0" providerId="ADAL" clId="{ECA9C3CA-5503-447D-9886-71BEF1A6310E}" dt="2019-10-16T17:53:52.355" v="1587" actId="478"/>
          <ac:grpSpMkLst>
            <pc:docMk/>
            <pc:sldMk cId="559555736" sldId="4552"/>
            <ac:grpSpMk id="45" creationId="{D7852EDD-FF9D-4165-901E-1E3165F49092}"/>
          </ac:grpSpMkLst>
        </pc:grpChg>
        <pc:grpChg chg="del">
          <ac:chgData name="Nicole Welch" userId="4bbf8b27-f36f-4029-b936-1f4b065af9e0" providerId="ADAL" clId="{ECA9C3CA-5503-447D-9886-71BEF1A6310E}" dt="2019-10-16T17:53:54.264" v="1589" actId="478"/>
          <ac:grpSpMkLst>
            <pc:docMk/>
            <pc:sldMk cId="559555736" sldId="4552"/>
            <ac:grpSpMk id="48" creationId="{484FD896-F40A-40FF-BACF-64815AE81100}"/>
          </ac:grpSpMkLst>
        </pc:grpChg>
        <pc:grpChg chg="del mod">
          <ac:chgData name="Nicole Welch" userId="4bbf8b27-f36f-4029-b936-1f4b065af9e0" providerId="ADAL" clId="{ECA9C3CA-5503-447D-9886-71BEF1A6310E}" dt="2019-10-16T17:53:47.819" v="1585" actId="478"/>
          <ac:grpSpMkLst>
            <pc:docMk/>
            <pc:sldMk cId="559555736" sldId="4552"/>
            <ac:grpSpMk id="53" creationId="{BFDAA891-5F55-49B5-BA75-41A849B08063}"/>
          </ac:grpSpMkLst>
        </pc:grpChg>
        <pc:picChg chg="mod">
          <ac:chgData name="Nicole Welch" userId="4bbf8b27-f36f-4029-b936-1f4b065af9e0" providerId="ADAL" clId="{ECA9C3CA-5503-447D-9886-71BEF1A6310E}" dt="2019-10-16T17:53:34.166" v="1583" actId="1036"/>
          <ac:picMkLst>
            <pc:docMk/>
            <pc:sldMk cId="559555736" sldId="4552"/>
            <ac:picMk id="6" creationId="{91AFB7ED-9A6A-45DA-A457-56F69F1DEB90}"/>
          </ac:picMkLst>
        </pc:picChg>
        <pc:picChg chg="mod">
          <ac:chgData name="Nicole Welch" userId="4bbf8b27-f36f-4029-b936-1f4b065af9e0" providerId="ADAL" clId="{ECA9C3CA-5503-447D-9886-71BEF1A6310E}" dt="2019-10-16T17:53:34.166" v="1583" actId="1036"/>
          <ac:picMkLst>
            <pc:docMk/>
            <pc:sldMk cId="559555736" sldId="4552"/>
            <ac:picMk id="8" creationId="{1CDA24FD-BE4F-4051-A44B-42FCD3933855}"/>
          </ac:picMkLst>
        </pc:picChg>
        <pc:picChg chg="mod">
          <ac:chgData name="Nicole Welch" userId="4bbf8b27-f36f-4029-b936-1f4b065af9e0" providerId="ADAL" clId="{ECA9C3CA-5503-447D-9886-71BEF1A6310E}" dt="2019-10-16T17:53:34.166" v="1583" actId="1036"/>
          <ac:picMkLst>
            <pc:docMk/>
            <pc:sldMk cId="559555736" sldId="4552"/>
            <ac:picMk id="10" creationId="{1ED27D22-43CE-4F09-B218-023E6D5B87FC}"/>
          </ac:picMkLst>
        </pc:picChg>
      </pc:sldChg>
      <pc:sldChg chg="del">
        <pc:chgData name="Nicole Welch" userId="4bbf8b27-f36f-4029-b936-1f4b065af9e0" providerId="ADAL" clId="{ECA9C3CA-5503-447D-9886-71BEF1A6310E}" dt="2019-10-16T17:59:55.884" v="1687" actId="47"/>
        <pc:sldMkLst>
          <pc:docMk/>
          <pc:sldMk cId="4179292644" sldId="4554"/>
        </pc:sldMkLst>
      </pc:sldChg>
      <pc:sldChg chg="del">
        <pc:chgData name="Nicole Welch" userId="4bbf8b27-f36f-4029-b936-1f4b065af9e0" providerId="ADAL" clId="{ECA9C3CA-5503-447D-9886-71BEF1A6310E}" dt="2019-10-16T16:52:40.054" v="586" actId="47"/>
        <pc:sldMkLst>
          <pc:docMk/>
          <pc:sldMk cId="3128478256" sldId="4556"/>
        </pc:sldMkLst>
      </pc:sldChg>
      <pc:sldChg chg="modSp">
        <pc:chgData name="Nicole Welch" userId="4bbf8b27-f36f-4029-b936-1f4b065af9e0" providerId="ADAL" clId="{ECA9C3CA-5503-447D-9886-71BEF1A6310E}" dt="2019-10-16T18:27:51.604" v="2136" actId="6549"/>
        <pc:sldMkLst>
          <pc:docMk/>
          <pc:sldMk cId="36280079" sldId="8219"/>
        </pc:sldMkLst>
        <pc:spChg chg="mod">
          <ac:chgData name="Nicole Welch" userId="4bbf8b27-f36f-4029-b936-1f4b065af9e0" providerId="ADAL" clId="{ECA9C3CA-5503-447D-9886-71BEF1A6310E}" dt="2019-10-16T18:27:51.604" v="2136" actId="6549"/>
          <ac:spMkLst>
            <pc:docMk/>
            <pc:sldMk cId="36280079" sldId="8219"/>
            <ac:spMk id="5" creationId="{D947505E-7242-449A-B0A8-8078D0490D19}"/>
          </ac:spMkLst>
        </pc:spChg>
        <pc:spChg chg="mod">
          <ac:chgData name="Nicole Welch" userId="4bbf8b27-f36f-4029-b936-1f4b065af9e0" providerId="ADAL" clId="{ECA9C3CA-5503-447D-9886-71BEF1A6310E}" dt="2019-10-16T18:27:44.955" v="2135" actId="207"/>
          <ac:spMkLst>
            <pc:docMk/>
            <pc:sldMk cId="36280079" sldId="8219"/>
            <ac:spMk id="26" creationId="{FC6EDE38-7C7A-4948-9A91-121E57A17B80}"/>
          </ac:spMkLst>
        </pc:spChg>
        <pc:spChg chg="mod">
          <ac:chgData name="Nicole Welch" userId="4bbf8b27-f36f-4029-b936-1f4b065af9e0" providerId="ADAL" clId="{ECA9C3CA-5503-447D-9886-71BEF1A6310E}" dt="2019-10-16T18:27:44.955" v="2135" actId="207"/>
          <ac:spMkLst>
            <pc:docMk/>
            <pc:sldMk cId="36280079" sldId="8219"/>
            <ac:spMk id="27" creationId="{8467EF36-9B26-4646-BA04-FCE15703EB7A}"/>
          </ac:spMkLst>
        </pc:spChg>
        <pc:spChg chg="mod">
          <ac:chgData name="Nicole Welch" userId="4bbf8b27-f36f-4029-b936-1f4b065af9e0" providerId="ADAL" clId="{ECA9C3CA-5503-447D-9886-71BEF1A6310E}" dt="2019-10-16T18:27:44.955" v="2135" actId="207"/>
          <ac:spMkLst>
            <pc:docMk/>
            <pc:sldMk cId="36280079" sldId="8219"/>
            <ac:spMk id="28" creationId="{A9D2DC16-FDEC-4EFD-A005-9716CB4D95B8}"/>
          </ac:spMkLst>
        </pc:spChg>
        <pc:spChg chg="mod">
          <ac:chgData name="Nicole Welch" userId="4bbf8b27-f36f-4029-b936-1f4b065af9e0" providerId="ADAL" clId="{ECA9C3CA-5503-447D-9886-71BEF1A6310E}" dt="2019-10-16T18:27:44.955" v="2135" actId="207"/>
          <ac:spMkLst>
            <pc:docMk/>
            <pc:sldMk cId="36280079" sldId="8219"/>
            <ac:spMk id="29" creationId="{C41B7AEC-9C8A-47F1-BE82-0A4A40FE56F4}"/>
          </ac:spMkLst>
        </pc:spChg>
        <pc:grpChg chg="mod">
          <ac:chgData name="Nicole Welch" userId="4bbf8b27-f36f-4029-b936-1f4b065af9e0" providerId="ADAL" clId="{ECA9C3CA-5503-447D-9886-71BEF1A6310E}" dt="2019-10-16T18:27:26.026" v="2132" actId="208"/>
          <ac:grpSpMkLst>
            <pc:docMk/>
            <pc:sldMk cId="36280079" sldId="8219"/>
            <ac:grpSpMk id="15" creationId="{3E5BC9FA-258D-410A-89C4-EB25918EF278}"/>
          </ac:grpSpMkLst>
        </pc:grpChg>
        <pc:grpChg chg="mod">
          <ac:chgData name="Nicole Welch" userId="4bbf8b27-f36f-4029-b936-1f4b065af9e0" providerId="ADAL" clId="{ECA9C3CA-5503-447D-9886-71BEF1A6310E}" dt="2019-10-16T18:27:26.026" v="2132" actId="208"/>
          <ac:grpSpMkLst>
            <pc:docMk/>
            <pc:sldMk cId="36280079" sldId="8219"/>
            <ac:grpSpMk id="33" creationId="{89345C1E-3DDB-4D58-AA34-4590A1AAFB71}"/>
          </ac:grpSpMkLst>
        </pc:grpChg>
        <pc:grpChg chg="mod">
          <ac:chgData name="Nicole Welch" userId="4bbf8b27-f36f-4029-b936-1f4b065af9e0" providerId="ADAL" clId="{ECA9C3CA-5503-447D-9886-71BEF1A6310E}" dt="2019-10-16T18:27:26.026" v="2132" actId="208"/>
          <ac:grpSpMkLst>
            <pc:docMk/>
            <pc:sldMk cId="36280079" sldId="8219"/>
            <ac:grpSpMk id="42" creationId="{5D585547-462A-4F90-89AE-1100AC56DC88}"/>
          </ac:grpSpMkLst>
        </pc:grpChg>
      </pc:sldChg>
      <pc:sldChg chg="del">
        <pc:chgData name="Nicole Welch" userId="4bbf8b27-f36f-4029-b936-1f4b065af9e0" providerId="ADAL" clId="{ECA9C3CA-5503-447D-9886-71BEF1A6310E}" dt="2019-10-16T20:06:48.416" v="2675" actId="47"/>
        <pc:sldMkLst>
          <pc:docMk/>
          <pc:sldMk cId="1487042220" sldId="8220"/>
        </pc:sldMkLst>
      </pc:sldChg>
      <pc:sldChg chg="del">
        <pc:chgData name="Nicole Welch" userId="4bbf8b27-f36f-4029-b936-1f4b065af9e0" providerId="ADAL" clId="{ECA9C3CA-5503-447D-9886-71BEF1A6310E}" dt="2019-10-16T18:29:10.337" v="2165" actId="47"/>
        <pc:sldMkLst>
          <pc:docMk/>
          <pc:sldMk cId="601676539" sldId="8221"/>
        </pc:sldMkLst>
      </pc:sldChg>
      <pc:sldChg chg="modSp">
        <pc:chgData name="Nicole Welch" userId="4bbf8b27-f36f-4029-b936-1f4b065af9e0" providerId="ADAL" clId="{ECA9C3CA-5503-447D-9886-71BEF1A6310E}" dt="2019-10-16T17:54:16.932" v="1594" actId="207"/>
        <pc:sldMkLst>
          <pc:docMk/>
          <pc:sldMk cId="4257894506" sldId="8344"/>
        </pc:sldMkLst>
        <pc:spChg chg="mod">
          <ac:chgData name="Nicole Welch" userId="4bbf8b27-f36f-4029-b936-1f4b065af9e0" providerId="ADAL" clId="{ECA9C3CA-5503-447D-9886-71BEF1A6310E}" dt="2019-10-16T17:54:16.932" v="1594" actId="207"/>
          <ac:spMkLst>
            <pc:docMk/>
            <pc:sldMk cId="4257894506" sldId="8344"/>
            <ac:spMk id="4" creationId="{A6D58588-3E0F-47C3-8163-554F2E7EA632}"/>
          </ac:spMkLst>
        </pc:spChg>
        <pc:spChg chg="mod">
          <ac:chgData name="Nicole Welch" userId="4bbf8b27-f36f-4029-b936-1f4b065af9e0" providerId="ADAL" clId="{ECA9C3CA-5503-447D-9886-71BEF1A6310E}" dt="2019-10-16T17:51:01.688" v="1507" actId="14100"/>
          <ac:spMkLst>
            <pc:docMk/>
            <pc:sldMk cId="4257894506" sldId="8344"/>
            <ac:spMk id="6" creationId="{D716AEBB-0677-4E78-BD4B-34A9612BE63E}"/>
          </ac:spMkLst>
        </pc:spChg>
      </pc:sldChg>
      <pc:sldChg chg="del">
        <pc:chgData name="Nicole Welch" userId="4bbf8b27-f36f-4029-b936-1f4b065af9e0" providerId="ADAL" clId="{ECA9C3CA-5503-447D-9886-71BEF1A6310E}" dt="2019-10-16T16:45:02.255" v="506" actId="47"/>
        <pc:sldMkLst>
          <pc:docMk/>
          <pc:sldMk cId="3789247457" sldId="8346"/>
        </pc:sldMkLst>
      </pc:sldChg>
      <pc:sldChg chg="add">
        <pc:chgData name="Nicole Welch" userId="4bbf8b27-f36f-4029-b936-1f4b065af9e0" providerId="ADAL" clId="{ECA9C3CA-5503-447D-9886-71BEF1A6310E}" dt="2019-10-16T16:53:19.315" v="587"/>
        <pc:sldMkLst>
          <pc:docMk/>
          <pc:sldMk cId="153187911" sldId="9736"/>
        </pc:sldMkLst>
      </pc:sldChg>
      <pc:sldChg chg="add">
        <pc:chgData name="Nicole Welch" userId="4bbf8b27-f36f-4029-b936-1f4b065af9e0" providerId="ADAL" clId="{ECA9C3CA-5503-447D-9886-71BEF1A6310E}" dt="2019-10-16T16:35:09.305" v="423"/>
        <pc:sldMkLst>
          <pc:docMk/>
          <pc:sldMk cId="163351054" sldId="9737"/>
        </pc:sldMkLst>
      </pc:sldChg>
      <pc:sldChg chg="delSp modSp add">
        <pc:chgData name="Nicole Welch" userId="4bbf8b27-f36f-4029-b936-1f4b065af9e0" providerId="ADAL" clId="{ECA9C3CA-5503-447D-9886-71BEF1A6310E}" dt="2019-10-16T17:54:41.903" v="1611" actId="1036"/>
        <pc:sldMkLst>
          <pc:docMk/>
          <pc:sldMk cId="1614970912" sldId="9739"/>
        </pc:sldMkLst>
        <pc:spChg chg="mod">
          <ac:chgData name="Nicole Welch" userId="4bbf8b27-f36f-4029-b936-1f4b065af9e0" providerId="ADAL" clId="{ECA9C3CA-5503-447D-9886-71BEF1A6310E}" dt="2019-10-16T17:54:41.903" v="1611" actId="1036"/>
          <ac:spMkLst>
            <pc:docMk/>
            <pc:sldMk cId="1614970912" sldId="9739"/>
            <ac:spMk id="2" creationId="{8290D72A-FB6A-4A9B-9FF5-C5FE3D3E5D73}"/>
          </ac:spMkLst>
        </pc:spChg>
        <pc:spChg chg="mod">
          <ac:chgData name="Nicole Welch" userId="4bbf8b27-f36f-4029-b936-1f4b065af9e0" providerId="ADAL" clId="{ECA9C3CA-5503-447D-9886-71BEF1A6310E}" dt="2019-10-16T17:52:05.539" v="1508" actId="1076"/>
          <ac:spMkLst>
            <pc:docMk/>
            <pc:sldMk cId="1614970912" sldId="9739"/>
            <ac:spMk id="18" creationId="{64C096E4-7699-40F5-B091-3D91F634C084}"/>
          </ac:spMkLst>
        </pc:spChg>
        <pc:grpChg chg="del">
          <ac:chgData name="Nicole Welch" userId="4bbf8b27-f36f-4029-b936-1f4b065af9e0" providerId="ADAL" clId="{ECA9C3CA-5503-447D-9886-71BEF1A6310E}" dt="2019-10-16T16:39:49.781" v="431" actId="478"/>
          <ac:grpSpMkLst>
            <pc:docMk/>
            <pc:sldMk cId="1614970912" sldId="9739"/>
            <ac:grpSpMk id="5" creationId="{065B07E4-4A86-4AE4-9293-C86B74FA1352}"/>
          </ac:grpSpMkLst>
        </pc:grpChg>
        <pc:picChg chg="del">
          <ac:chgData name="Nicole Welch" userId="4bbf8b27-f36f-4029-b936-1f4b065af9e0" providerId="ADAL" clId="{ECA9C3CA-5503-447D-9886-71BEF1A6310E}" dt="2019-10-16T16:39:51.065" v="432" actId="478"/>
          <ac:picMkLst>
            <pc:docMk/>
            <pc:sldMk cId="1614970912" sldId="9739"/>
            <ac:picMk id="17" creationId="{ECEDA177-3345-44B3-A75E-C2FC0E7C25C2}"/>
          </ac:picMkLst>
        </pc:picChg>
        <pc:picChg chg="mod">
          <ac:chgData name="Nicole Welch" userId="4bbf8b27-f36f-4029-b936-1f4b065af9e0" providerId="ADAL" clId="{ECA9C3CA-5503-447D-9886-71BEF1A6310E}" dt="2019-10-16T17:52:21.979" v="1535" actId="1038"/>
          <ac:picMkLst>
            <pc:docMk/>
            <pc:sldMk cId="1614970912" sldId="9739"/>
            <ac:picMk id="19" creationId="{BDECECC0-A06F-478D-9DC2-2AD09F010AC3}"/>
          </ac:picMkLst>
        </pc:picChg>
      </pc:sldChg>
      <pc:sldChg chg="add">
        <pc:chgData name="Nicole Welch" userId="4bbf8b27-f36f-4029-b936-1f4b065af9e0" providerId="ADAL" clId="{ECA9C3CA-5503-447D-9886-71BEF1A6310E}" dt="2019-10-16T16:35:09.305" v="423"/>
        <pc:sldMkLst>
          <pc:docMk/>
          <pc:sldMk cId="3788046023" sldId="9740"/>
        </pc:sldMkLst>
      </pc:sldChg>
      <pc:sldChg chg="modSp add">
        <pc:chgData name="Nicole Welch" userId="4bbf8b27-f36f-4029-b936-1f4b065af9e0" providerId="ADAL" clId="{ECA9C3CA-5503-447D-9886-71BEF1A6310E}" dt="2019-10-16T17:27:05.240" v="831" actId="20577"/>
        <pc:sldMkLst>
          <pc:docMk/>
          <pc:sldMk cId="4091966865" sldId="9741"/>
        </pc:sldMkLst>
        <pc:graphicFrameChg chg="modGraphic">
          <ac:chgData name="Nicole Welch" userId="4bbf8b27-f36f-4029-b936-1f4b065af9e0" providerId="ADAL" clId="{ECA9C3CA-5503-447D-9886-71BEF1A6310E}" dt="2019-10-16T17:27:05.240" v="831" actId="20577"/>
          <ac:graphicFrameMkLst>
            <pc:docMk/>
            <pc:sldMk cId="4091966865" sldId="9741"/>
            <ac:graphicFrameMk id="5" creationId="{6D05A51B-E11E-4B35-8B35-CC8675264098}"/>
          </ac:graphicFrameMkLst>
        </pc:graphicFrameChg>
      </pc:sldChg>
      <pc:sldChg chg="modSp add">
        <pc:chgData name="Nicole Welch" userId="4bbf8b27-f36f-4029-b936-1f4b065af9e0" providerId="ADAL" clId="{ECA9C3CA-5503-447D-9886-71BEF1A6310E}" dt="2019-10-16T17:06:44.755" v="660" actId="1038"/>
        <pc:sldMkLst>
          <pc:docMk/>
          <pc:sldMk cId="3451264057" sldId="9743"/>
        </pc:sldMkLst>
        <pc:picChg chg="mod modCrop">
          <ac:chgData name="Nicole Welch" userId="4bbf8b27-f36f-4029-b936-1f4b065af9e0" providerId="ADAL" clId="{ECA9C3CA-5503-447D-9886-71BEF1A6310E}" dt="2019-10-16T17:06:44.755" v="660" actId="1038"/>
          <ac:picMkLst>
            <pc:docMk/>
            <pc:sldMk cId="3451264057" sldId="9743"/>
            <ac:picMk id="13" creationId="{87A2965E-EC96-4FA8-9B80-1F8C09F5BC92}"/>
          </ac:picMkLst>
        </pc:picChg>
      </pc:sldChg>
      <pc:sldChg chg="modSp add">
        <pc:chgData name="Nicole Welch" userId="4bbf8b27-f36f-4029-b936-1f4b065af9e0" providerId="ADAL" clId="{ECA9C3CA-5503-447D-9886-71BEF1A6310E}" dt="2019-10-16T19:56:05.543" v="2482" actId="1076"/>
        <pc:sldMkLst>
          <pc:docMk/>
          <pc:sldMk cId="935619935" sldId="9744"/>
        </pc:sldMkLst>
        <pc:spChg chg="mod">
          <ac:chgData name="Nicole Welch" userId="4bbf8b27-f36f-4029-b936-1f4b065af9e0" providerId="ADAL" clId="{ECA9C3CA-5503-447D-9886-71BEF1A6310E}" dt="2019-10-16T19:56:05.543" v="2482" actId="1076"/>
          <ac:spMkLst>
            <pc:docMk/>
            <pc:sldMk cId="935619935" sldId="9744"/>
            <ac:spMk id="19" creationId="{C49F3D99-4BA8-4681-9A3F-BF665FC99BFD}"/>
          </ac:spMkLst>
        </pc:spChg>
      </pc:sldChg>
      <pc:sldChg chg="add del">
        <pc:chgData name="Nicole Welch" userId="4bbf8b27-f36f-4029-b936-1f4b065af9e0" providerId="ADAL" clId="{ECA9C3CA-5503-447D-9886-71BEF1A6310E}" dt="2019-10-16T19:47:20.646" v="2457" actId="2696"/>
        <pc:sldMkLst>
          <pc:docMk/>
          <pc:sldMk cId="3065592454" sldId="9745"/>
        </pc:sldMkLst>
      </pc:sldChg>
      <pc:sldChg chg="add">
        <pc:chgData name="Nicole Welch" userId="4bbf8b27-f36f-4029-b936-1f4b065af9e0" providerId="ADAL" clId="{ECA9C3CA-5503-447D-9886-71BEF1A6310E}" dt="2019-10-16T19:47:26.626" v="2458"/>
        <pc:sldMkLst>
          <pc:docMk/>
          <pc:sldMk cId="3288765356" sldId="9745"/>
        </pc:sldMkLst>
      </pc:sldChg>
      <pc:sldChg chg="delSp modSp add setBg">
        <pc:chgData name="Nicole Welch" userId="4bbf8b27-f36f-4029-b936-1f4b065af9e0" providerId="ADAL" clId="{ECA9C3CA-5503-447D-9886-71BEF1A6310E}" dt="2019-10-16T20:22:58.651" v="2982" actId="27636"/>
        <pc:sldMkLst>
          <pc:docMk/>
          <pc:sldMk cId="1271331840" sldId="9751"/>
        </pc:sldMkLst>
        <pc:spChg chg="mod">
          <ac:chgData name="Nicole Welch" userId="4bbf8b27-f36f-4029-b936-1f4b065af9e0" providerId="ADAL" clId="{ECA9C3CA-5503-447D-9886-71BEF1A6310E}" dt="2019-10-16T20:22:58.651" v="2982" actId="27636"/>
          <ac:spMkLst>
            <pc:docMk/>
            <pc:sldMk cId="1271331840" sldId="9751"/>
            <ac:spMk id="2" creationId="{3B143B7F-AE2F-42F4-B21C-1FBC38A2823F}"/>
          </ac:spMkLst>
        </pc:spChg>
        <pc:spChg chg="del">
          <ac:chgData name="Nicole Welch" userId="4bbf8b27-f36f-4029-b936-1f4b065af9e0" providerId="ADAL" clId="{ECA9C3CA-5503-447D-9886-71BEF1A6310E}" dt="2019-10-16T17:04:10.169" v="630" actId="478"/>
          <ac:spMkLst>
            <pc:docMk/>
            <pc:sldMk cId="1271331840" sldId="9751"/>
            <ac:spMk id="12" creationId="{D9808BFF-3AC3-46F9-8CB5-B53C56FC1069}"/>
          </ac:spMkLst>
        </pc:spChg>
      </pc:sldChg>
      <pc:sldChg chg="addSp modSp add mod setBg">
        <pc:chgData name="Nicole Welch" userId="4bbf8b27-f36f-4029-b936-1f4b065af9e0" providerId="ADAL" clId="{ECA9C3CA-5503-447D-9886-71BEF1A6310E}" dt="2019-10-16T18:04:25.439" v="2128" actId="14734"/>
        <pc:sldMkLst>
          <pc:docMk/>
          <pc:sldMk cId="2858831875" sldId="9752"/>
        </pc:sldMkLst>
        <pc:spChg chg="mod">
          <ac:chgData name="Nicole Welch" userId="4bbf8b27-f36f-4029-b936-1f4b065af9e0" providerId="ADAL" clId="{ECA9C3CA-5503-447D-9886-71BEF1A6310E}" dt="2019-10-16T18:02:56.997" v="2094" actId="26606"/>
          <ac:spMkLst>
            <pc:docMk/>
            <pc:sldMk cId="2858831875" sldId="9752"/>
            <ac:spMk id="5" creationId="{D901C2F7-6D13-4C3B-A68E-1BE9D8A480F9}"/>
          </ac:spMkLst>
        </pc:spChg>
        <pc:spChg chg="add">
          <ac:chgData name="Nicole Welch" userId="4bbf8b27-f36f-4029-b936-1f4b065af9e0" providerId="ADAL" clId="{ECA9C3CA-5503-447D-9886-71BEF1A6310E}" dt="2019-10-16T18:02:56.997" v="2094" actId="26606"/>
          <ac:spMkLst>
            <pc:docMk/>
            <pc:sldMk cId="2858831875" sldId="9752"/>
            <ac:spMk id="12" creationId="{27810DC0-66C7-4366-88EA-6E664FD3C54B}"/>
          </ac:spMkLst>
        </pc:spChg>
        <pc:spChg chg="add">
          <ac:chgData name="Nicole Welch" userId="4bbf8b27-f36f-4029-b936-1f4b065af9e0" providerId="ADAL" clId="{ECA9C3CA-5503-447D-9886-71BEF1A6310E}" dt="2019-10-16T18:02:56.997" v="2094" actId="26606"/>
          <ac:spMkLst>
            <pc:docMk/>
            <pc:sldMk cId="2858831875" sldId="9752"/>
            <ac:spMk id="14" creationId="{042D072A-532A-416F-8B5A-995223B6FF42}"/>
          </ac:spMkLst>
        </pc:spChg>
        <pc:spChg chg="add">
          <ac:chgData name="Nicole Welch" userId="4bbf8b27-f36f-4029-b936-1f4b065af9e0" providerId="ADAL" clId="{ECA9C3CA-5503-447D-9886-71BEF1A6310E}" dt="2019-10-16T18:02:56.997" v="2094" actId="26606"/>
          <ac:spMkLst>
            <pc:docMk/>
            <pc:sldMk cId="2858831875" sldId="9752"/>
            <ac:spMk id="16" creationId="{F0EEB33F-2378-4FB7-8EC9-D1B65853DCCC}"/>
          </ac:spMkLst>
        </pc:spChg>
        <pc:graphicFrameChg chg="mod modGraphic">
          <ac:chgData name="Nicole Welch" userId="4bbf8b27-f36f-4029-b936-1f4b065af9e0" providerId="ADAL" clId="{ECA9C3CA-5503-447D-9886-71BEF1A6310E}" dt="2019-10-16T18:04:25.439" v="2128" actId="14734"/>
          <ac:graphicFrameMkLst>
            <pc:docMk/>
            <pc:sldMk cId="2858831875" sldId="9752"/>
            <ac:graphicFrameMk id="7" creationId="{271A7CC8-81DD-4A8B-8079-5DC14A06DE43}"/>
          </ac:graphicFrameMkLst>
        </pc:graphicFrameChg>
      </pc:sldChg>
      <pc:sldChg chg="new del ord">
        <pc:chgData name="Nicole Welch" userId="4bbf8b27-f36f-4029-b936-1f4b065af9e0" providerId="ADAL" clId="{ECA9C3CA-5503-447D-9886-71BEF1A6310E}" dt="2019-10-16T16:23:27.358" v="91" actId="47"/>
        <pc:sldMkLst>
          <pc:docMk/>
          <pc:sldMk cId="2770827013" sldId="9753"/>
        </pc:sldMkLst>
      </pc:sldChg>
      <pc:sldChg chg="addSp delSp modSp add">
        <pc:chgData name="Nicole Welch" userId="4bbf8b27-f36f-4029-b936-1f4b065af9e0" providerId="ADAL" clId="{ECA9C3CA-5503-447D-9886-71BEF1A6310E}" dt="2019-10-16T19:47:43.237" v="2462"/>
        <pc:sldMkLst>
          <pc:docMk/>
          <pc:sldMk cId="1289679640" sldId="9768"/>
        </pc:sldMkLst>
        <pc:spChg chg="del mod">
          <ac:chgData name="Nicole Welch" userId="4bbf8b27-f36f-4029-b936-1f4b065af9e0" providerId="ADAL" clId="{ECA9C3CA-5503-447D-9886-71BEF1A6310E}" dt="2019-10-16T19:47:43.237" v="2462"/>
          <ac:spMkLst>
            <pc:docMk/>
            <pc:sldMk cId="1289679640" sldId="9768"/>
            <ac:spMk id="4" creationId="{F4C189F1-B6C8-4743-975D-DF43D76820CC}"/>
          </ac:spMkLst>
        </pc:spChg>
        <pc:spChg chg="add">
          <ac:chgData name="Nicole Welch" userId="4bbf8b27-f36f-4029-b936-1f4b065af9e0" providerId="ADAL" clId="{ECA9C3CA-5503-447D-9886-71BEF1A6310E}" dt="2019-10-16T19:47:42.063" v="2460"/>
          <ac:spMkLst>
            <pc:docMk/>
            <pc:sldMk cId="1289679640" sldId="9768"/>
            <ac:spMk id="9" creationId="{1C5BC2FE-083A-4A39-95C1-809E63AD8857}"/>
          </ac:spMkLst>
        </pc:spChg>
        <pc:spChg chg="mod">
          <ac:chgData name="Nicole Welch" userId="4bbf8b27-f36f-4029-b936-1f4b065af9e0" providerId="ADAL" clId="{ECA9C3CA-5503-447D-9886-71BEF1A6310E}" dt="2019-10-16T17:23:10.982" v="794" actId="14100"/>
          <ac:spMkLst>
            <pc:docMk/>
            <pc:sldMk cId="1289679640" sldId="9768"/>
            <ac:spMk id="10" creationId="{35D21256-307D-4EBD-B573-5AE472E1B859}"/>
          </ac:spMkLst>
        </pc:spChg>
        <pc:spChg chg="mod">
          <ac:chgData name="Nicole Welch" userId="4bbf8b27-f36f-4029-b936-1f4b065af9e0" providerId="ADAL" clId="{ECA9C3CA-5503-447D-9886-71BEF1A6310E}" dt="2019-10-16T17:22:28.493" v="756" actId="1037"/>
          <ac:spMkLst>
            <pc:docMk/>
            <pc:sldMk cId="1289679640" sldId="9768"/>
            <ac:spMk id="11" creationId="{14D7FAE7-EAC9-4419-8084-CC1A70EF52AF}"/>
          </ac:spMkLst>
        </pc:spChg>
        <pc:spChg chg="add">
          <ac:chgData name="Nicole Welch" userId="4bbf8b27-f36f-4029-b936-1f4b065af9e0" providerId="ADAL" clId="{ECA9C3CA-5503-447D-9886-71BEF1A6310E}" dt="2019-10-16T19:47:42.063" v="2460"/>
          <ac:spMkLst>
            <pc:docMk/>
            <pc:sldMk cId="1289679640" sldId="9768"/>
            <ac:spMk id="12" creationId="{76B47092-98F9-4B33-88EB-F97E32FDEA33}"/>
          </ac:spMkLst>
        </pc:spChg>
        <pc:spChg chg="del mod">
          <ac:chgData name="Nicole Welch" userId="4bbf8b27-f36f-4029-b936-1f4b065af9e0" providerId="ADAL" clId="{ECA9C3CA-5503-447D-9886-71BEF1A6310E}" dt="2019-10-16T16:49:08.049" v="573"/>
          <ac:spMkLst>
            <pc:docMk/>
            <pc:sldMk cId="1289679640" sldId="9768"/>
            <ac:spMk id="17" creationId="{635082D8-CC4B-4C71-882D-91EE35C0A39F}"/>
          </ac:spMkLst>
        </pc:spChg>
        <pc:spChg chg="mod">
          <ac:chgData name="Nicole Welch" userId="4bbf8b27-f36f-4029-b936-1f4b065af9e0" providerId="ADAL" clId="{ECA9C3CA-5503-447D-9886-71BEF1A6310E}" dt="2019-10-16T17:22:57.005" v="790" actId="14100"/>
          <ac:spMkLst>
            <pc:docMk/>
            <pc:sldMk cId="1289679640" sldId="9768"/>
            <ac:spMk id="18" creationId="{0C89E19C-029B-4D73-849D-51D38E8F0E53}"/>
          </ac:spMkLst>
        </pc:spChg>
        <pc:spChg chg="mod">
          <ac:chgData name="Nicole Welch" userId="4bbf8b27-f36f-4029-b936-1f4b065af9e0" providerId="ADAL" clId="{ECA9C3CA-5503-447D-9886-71BEF1A6310E}" dt="2019-10-16T17:23:02.227" v="792" actId="14100"/>
          <ac:spMkLst>
            <pc:docMk/>
            <pc:sldMk cId="1289679640" sldId="9768"/>
            <ac:spMk id="19" creationId="{6ACB4319-CDD7-4148-A3EF-8A87B9449121}"/>
          </ac:spMkLst>
        </pc:spChg>
      </pc:sldChg>
      <pc:sldChg chg="modSp add del">
        <pc:chgData name="Nicole Welch" userId="4bbf8b27-f36f-4029-b936-1f4b065af9e0" providerId="ADAL" clId="{ECA9C3CA-5503-447D-9886-71BEF1A6310E}" dt="2019-10-16T17:23:58.251" v="801" actId="47"/>
        <pc:sldMkLst>
          <pc:docMk/>
          <pc:sldMk cId="1371161930" sldId="9769"/>
        </pc:sldMkLst>
        <pc:spChg chg="mod">
          <ac:chgData name="Nicole Welch" userId="4bbf8b27-f36f-4029-b936-1f4b065af9e0" providerId="ADAL" clId="{ECA9C3CA-5503-447D-9886-71BEF1A6310E}" dt="2019-10-16T17:23:50.277" v="799" actId="1076"/>
          <ac:spMkLst>
            <pc:docMk/>
            <pc:sldMk cId="1371161930" sldId="9769"/>
            <ac:spMk id="10" creationId="{22855FC9-0CCF-4381-97B7-0DC97AEA9D24}"/>
          </ac:spMkLst>
        </pc:spChg>
        <pc:spChg chg="mod">
          <ac:chgData name="Nicole Welch" userId="4bbf8b27-f36f-4029-b936-1f4b065af9e0" providerId="ADAL" clId="{ECA9C3CA-5503-447D-9886-71BEF1A6310E}" dt="2019-10-16T16:38:27.115" v="429" actId="13926"/>
          <ac:spMkLst>
            <pc:docMk/>
            <pc:sldMk cId="1371161930" sldId="9769"/>
            <ac:spMk id="134" creationId="{8E1F4DC8-AB65-4B88-B97D-FCABEA6AC582}"/>
          </ac:spMkLst>
        </pc:spChg>
      </pc:sldChg>
      <pc:sldChg chg="modSp add">
        <pc:chgData name="Nicole Welch" userId="4bbf8b27-f36f-4029-b936-1f4b065af9e0" providerId="ADAL" clId="{ECA9C3CA-5503-447D-9886-71BEF1A6310E}" dt="2019-10-16T16:40:25.444" v="449" actId="1037"/>
        <pc:sldMkLst>
          <pc:docMk/>
          <pc:sldMk cId="2106700118" sldId="9770"/>
        </pc:sldMkLst>
        <pc:spChg chg="mod">
          <ac:chgData name="Nicole Welch" userId="4bbf8b27-f36f-4029-b936-1f4b065af9e0" providerId="ADAL" clId="{ECA9C3CA-5503-447D-9886-71BEF1A6310E}" dt="2019-10-16T16:40:25.444" v="449" actId="1037"/>
          <ac:spMkLst>
            <pc:docMk/>
            <pc:sldMk cId="2106700118" sldId="9770"/>
            <ac:spMk id="10" creationId="{22855FC9-0CCF-4381-97B7-0DC97AEA9D24}"/>
          </ac:spMkLst>
        </pc:spChg>
        <pc:spChg chg="mod">
          <ac:chgData name="Nicole Welch" userId="4bbf8b27-f36f-4029-b936-1f4b065af9e0" providerId="ADAL" clId="{ECA9C3CA-5503-447D-9886-71BEF1A6310E}" dt="2019-10-16T16:40:11.913" v="434" actId="13926"/>
          <ac:spMkLst>
            <pc:docMk/>
            <pc:sldMk cId="2106700118" sldId="9770"/>
            <ac:spMk id="138" creationId="{477616BE-EE5A-48AE-BAC7-2DE32CC5E8AC}"/>
          </ac:spMkLst>
        </pc:spChg>
      </pc:sldChg>
      <pc:sldChg chg="addSp delSp modSp new mod ord modClrScheme chgLayout">
        <pc:chgData name="Nicole Welch" userId="4bbf8b27-f36f-4029-b936-1f4b065af9e0" providerId="ADAL" clId="{ECA9C3CA-5503-447D-9886-71BEF1A6310E}" dt="2019-10-16T20:23:43.712" v="2997" actId="20577"/>
        <pc:sldMkLst>
          <pc:docMk/>
          <pc:sldMk cId="2092215434" sldId="9771"/>
        </pc:sldMkLst>
        <pc:spChg chg="del">
          <ac:chgData name="Nicole Welch" userId="4bbf8b27-f36f-4029-b936-1f4b065af9e0" providerId="ADAL" clId="{ECA9C3CA-5503-447D-9886-71BEF1A6310E}" dt="2019-10-16T16:54:45.650" v="595" actId="700"/>
          <ac:spMkLst>
            <pc:docMk/>
            <pc:sldMk cId="2092215434" sldId="9771"/>
            <ac:spMk id="2" creationId="{34EC8709-CB42-4C26-A6DB-D0CA9BDC282A}"/>
          </ac:spMkLst>
        </pc:spChg>
        <pc:spChg chg="mod ord">
          <ac:chgData name="Nicole Welch" userId="4bbf8b27-f36f-4029-b936-1f4b065af9e0" providerId="ADAL" clId="{ECA9C3CA-5503-447D-9886-71BEF1A6310E}" dt="2019-10-16T16:54:55.010" v="596" actId="700"/>
          <ac:spMkLst>
            <pc:docMk/>
            <pc:sldMk cId="2092215434" sldId="9771"/>
            <ac:spMk id="3" creationId="{AAC76769-80FA-4826-BAD2-3CA242AD713F}"/>
          </ac:spMkLst>
        </pc:spChg>
        <pc:spChg chg="del mod ord">
          <ac:chgData name="Nicole Welch" userId="4bbf8b27-f36f-4029-b936-1f4b065af9e0" providerId="ADAL" clId="{ECA9C3CA-5503-447D-9886-71BEF1A6310E}" dt="2019-10-16T16:54:45.650" v="595" actId="700"/>
          <ac:spMkLst>
            <pc:docMk/>
            <pc:sldMk cId="2092215434" sldId="9771"/>
            <ac:spMk id="4" creationId="{8DE41F70-EDFB-4782-A933-45C019D7963C}"/>
          </ac:spMkLst>
        </pc:spChg>
        <pc:spChg chg="add del mod ord">
          <ac:chgData name="Nicole Welch" userId="4bbf8b27-f36f-4029-b936-1f4b065af9e0" providerId="ADAL" clId="{ECA9C3CA-5503-447D-9886-71BEF1A6310E}" dt="2019-10-16T16:54:55.010" v="596" actId="700"/>
          <ac:spMkLst>
            <pc:docMk/>
            <pc:sldMk cId="2092215434" sldId="9771"/>
            <ac:spMk id="5" creationId="{99D3D497-1EBD-4903-91AA-D086DB50C37C}"/>
          </ac:spMkLst>
        </pc:spChg>
        <pc:spChg chg="add mod ord">
          <ac:chgData name="Nicole Welch" userId="4bbf8b27-f36f-4029-b936-1f4b065af9e0" providerId="ADAL" clId="{ECA9C3CA-5503-447D-9886-71BEF1A6310E}" dt="2019-10-16T20:23:43.712" v="2997" actId="20577"/>
          <ac:spMkLst>
            <pc:docMk/>
            <pc:sldMk cId="2092215434" sldId="9771"/>
            <ac:spMk id="6" creationId="{936E1D1A-D931-465C-B996-50031AA302DA}"/>
          </ac:spMkLst>
        </pc:spChg>
      </pc:sldChg>
      <pc:sldChg chg="add del">
        <pc:chgData name="Nicole Welch" userId="4bbf8b27-f36f-4029-b936-1f4b065af9e0" providerId="ADAL" clId="{ECA9C3CA-5503-447D-9886-71BEF1A6310E}" dt="2019-10-16T16:50:19.805" v="576"/>
        <pc:sldMkLst>
          <pc:docMk/>
          <pc:sldMk cId="998799875" sldId="9772"/>
        </pc:sldMkLst>
      </pc:sldChg>
      <pc:sldChg chg="addSp delSp modSp add mod modClrScheme delAnim modAnim chgLayout">
        <pc:chgData name="Nicole Welch" userId="4bbf8b27-f36f-4029-b936-1f4b065af9e0" providerId="ADAL" clId="{ECA9C3CA-5503-447D-9886-71BEF1A6310E}" dt="2019-10-16T20:07:54.009" v="2685" actId="20577"/>
        <pc:sldMkLst>
          <pc:docMk/>
          <pc:sldMk cId="2490428422" sldId="9772"/>
        </pc:sldMkLst>
        <pc:spChg chg="mod">
          <ac:chgData name="Nicole Welch" userId="4bbf8b27-f36f-4029-b936-1f4b065af9e0" providerId="ADAL" clId="{ECA9C3CA-5503-447D-9886-71BEF1A6310E}" dt="2019-10-16T20:07:54.009" v="2685" actId="20577"/>
          <ac:spMkLst>
            <pc:docMk/>
            <pc:sldMk cId="2490428422" sldId="9772"/>
            <ac:spMk id="3" creationId="{CC043030-27E8-46BC-9111-5AEEA65A29DB}"/>
          </ac:spMkLst>
        </pc:spChg>
        <pc:spChg chg="add del mod ord">
          <ac:chgData name="Nicole Welch" userId="4bbf8b27-f36f-4029-b936-1f4b065af9e0" providerId="ADAL" clId="{ECA9C3CA-5503-447D-9886-71BEF1A6310E}" dt="2019-10-16T17:36:52.823" v="939" actId="700"/>
          <ac:spMkLst>
            <pc:docMk/>
            <pc:sldMk cId="2490428422" sldId="9772"/>
            <ac:spMk id="4" creationId="{F03F54F3-46C4-4000-9A95-9CB569DCF5FF}"/>
          </ac:spMkLst>
        </pc:spChg>
        <pc:spChg chg="add del mod ord">
          <ac:chgData name="Nicole Welch" userId="4bbf8b27-f36f-4029-b936-1f4b065af9e0" providerId="ADAL" clId="{ECA9C3CA-5503-447D-9886-71BEF1A6310E}" dt="2019-10-16T17:36:52.823" v="939" actId="700"/>
          <ac:spMkLst>
            <pc:docMk/>
            <pc:sldMk cId="2490428422" sldId="9772"/>
            <ac:spMk id="5" creationId="{B1A9D1FA-FFA8-49D6-A93A-B5F9BD2C1E8E}"/>
          </ac:spMkLst>
        </pc:spChg>
        <pc:spChg chg="add mod">
          <ac:chgData name="Nicole Welch" userId="4bbf8b27-f36f-4029-b936-1f4b065af9e0" providerId="ADAL" clId="{ECA9C3CA-5503-447D-9886-71BEF1A6310E}" dt="2019-10-16T17:42:48.308" v="1185" actId="6549"/>
          <ac:spMkLst>
            <pc:docMk/>
            <pc:sldMk cId="2490428422" sldId="9772"/>
            <ac:spMk id="6" creationId="{E82AF2CA-3E44-4D97-8EB5-C7709F657D3D}"/>
          </ac:spMkLst>
        </pc:spChg>
        <pc:spChg chg="add mod">
          <ac:chgData name="Nicole Welch" userId="4bbf8b27-f36f-4029-b936-1f4b065af9e0" providerId="ADAL" clId="{ECA9C3CA-5503-447D-9886-71BEF1A6310E}" dt="2019-10-16T17:40:45.537" v="1081" actId="1076"/>
          <ac:spMkLst>
            <pc:docMk/>
            <pc:sldMk cId="2490428422" sldId="9772"/>
            <ac:spMk id="10" creationId="{7DD2C812-4B7C-4DDF-9DE6-1D35A11B780C}"/>
          </ac:spMkLst>
        </pc:spChg>
        <pc:spChg chg="add mod">
          <ac:chgData name="Nicole Welch" userId="4bbf8b27-f36f-4029-b936-1f4b065af9e0" providerId="ADAL" clId="{ECA9C3CA-5503-447D-9886-71BEF1A6310E}" dt="2019-10-16T17:41:05.813" v="1097" actId="122"/>
          <ac:spMkLst>
            <pc:docMk/>
            <pc:sldMk cId="2490428422" sldId="9772"/>
            <ac:spMk id="13" creationId="{E7D8A650-6E27-4B79-B485-4DF0F6F85121}"/>
          </ac:spMkLst>
        </pc:spChg>
        <pc:spChg chg="add mod">
          <ac:chgData name="Nicole Welch" userId="4bbf8b27-f36f-4029-b936-1f4b065af9e0" providerId="ADAL" clId="{ECA9C3CA-5503-447D-9886-71BEF1A6310E}" dt="2019-10-16T17:41:25.858" v="1112" actId="1076"/>
          <ac:spMkLst>
            <pc:docMk/>
            <pc:sldMk cId="2490428422" sldId="9772"/>
            <ac:spMk id="14" creationId="{F2E7BCBC-7A8F-4C1F-B7A6-2059A9D4BAAC}"/>
          </ac:spMkLst>
        </pc:spChg>
        <pc:spChg chg="add mod">
          <ac:chgData name="Nicole Welch" userId="4bbf8b27-f36f-4029-b936-1f4b065af9e0" providerId="ADAL" clId="{ECA9C3CA-5503-447D-9886-71BEF1A6310E}" dt="2019-10-16T17:42:31.925" v="1162" actId="1037"/>
          <ac:spMkLst>
            <pc:docMk/>
            <pc:sldMk cId="2490428422" sldId="9772"/>
            <ac:spMk id="21" creationId="{3D4581DD-BE02-474D-AC51-963ADF4C5F38}"/>
          </ac:spMkLst>
        </pc:spChg>
        <pc:graphicFrameChg chg="del">
          <ac:chgData name="Nicole Welch" userId="4bbf8b27-f36f-4029-b936-1f4b065af9e0" providerId="ADAL" clId="{ECA9C3CA-5503-447D-9886-71BEF1A6310E}" dt="2019-10-16T16:56:33.942" v="601"/>
          <ac:graphicFrameMkLst>
            <pc:docMk/>
            <pc:sldMk cId="2490428422" sldId="9772"/>
            <ac:graphicFrameMk id="2" creationId="{98AAFD5F-E430-44D4-9427-2755ABDDEAA9}"/>
          </ac:graphicFrameMkLst>
        </pc:graphicFrameChg>
        <pc:picChg chg="add mod">
          <ac:chgData name="Nicole Welch" userId="4bbf8b27-f36f-4029-b936-1f4b065af9e0" providerId="ADAL" clId="{ECA9C3CA-5503-447D-9886-71BEF1A6310E}" dt="2019-10-16T17:39:57.546" v="1059" actId="14100"/>
          <ac:picMkLst>
            <pc:docMk/>
            <pc:sldMk cId="2490428422" sldId="9772"/>
            <ac:picMk id="7" creationId="{1870DC5E-8887-4CAE-98D3-68630D3ADB8C}"/>
          </ac:picMkLst>
        </pc:picChg>
        <pc:picChg chg="add del mod">
          <ac:chgData name="Nicole Welch" userId="4bbf8b27-f36f-4029-b936-1f4b065af9e0" providerId="ADAL" clId="{ECA9C3CA-5503-447D-9886-71BEF1A6310E}" dt="2019-10-16T17:40:04.913" v="1063" actId="478"/>
          <ac:picMkLst>
            <pc:docMk/>
            <pc:sldMk cId="2490428422" sldId="9772"/>
            <ac:picMk id="8" creationId="{02752E7C-C914-4A10-8A39-AFBA5CDC2AC3}"/>
          </ac:picMkLst>
        </pc:picChg>
        <pc:picChg chg="add del mod">
          <ac:chgData name="Nicole Welch" userId="4bbf8b27-f36f-4029-b936-1f4b065af9e0" providerId="ADAL" clId="{ECA9C3CA-5503-447D-9886-71BEF1A6310E}" dt="2019-10-16T17:40:03.373" v="1062" actId="478"/>
          <ac:picMkLst>
            <pc:docMk/>
            <pc:sldMk cId="2490428422" sldId="9772"/>
            <ac:picMk id="9" creationId="{9BAB1ABA-6399-4928-8CB1-C804B5A3066D}"/>
          </ac:picMkLst>
        </pc:picChg>
        <pc:picChg chg="add mod">
          <ac:chgData name="Nicole Welch" userId="4bbf8b27-f36f-4029-b936-1f4b065af9e0" providerId="ADAL" clId="{ECA9C3CA-5503-447D-9886-71BEF1A6310E}" dt="2019-10-16T17:40:28.767" v="1071" actId="1076"/>
          <ac:picMkLst>
            <pc:docMk/>
            <pc:sldMk cId="2490428422" sldId="9772"/>
            <ac:picMk id="11" creationId="{35D9F965-A7A8-447F-8800-6FB4FFD3F731}"/>
          </ac:picMkLst>
        </pc:picChg>
        <pc:picChg chg="add mod">
          <ac:chgData name="Nicole Welch" userId="4bbf8b27-f36f-4029-b936-1f4b065af9e0" providerId="ADAL" clId="{ECA9C3CA-5503-447D-9886-71BEF1A6310E}" dt="2019-10-16T17:40:12.189" v="1066" actId="1076"/>
          <ac:picMkLst>
            <pc:docMk/>
            <pc:sldMk cId="2490428422" sldId="9772"/>
            <ac:picMk id="12" creationId="{52E07F12-E92A-4719-B8B9-AF1DFB584BC5}"/>
          </ac:picMkLst>
        </pc:picChg>
        <pc:picChg chg="add mod">
          <ac:chgData name="Nicole Welch" userId="4bbf8b27-f36f-4029-b936-1f4b065af9e0" providerId="ADAL" clId="{ECA9C3CA-5503-447D-9886-71BEF1A6310E}" dt="2019-10-16T17:42:23.829" v="1148" actId="1035"/>
          <ac:picMkLst>
            <pc:docMk/>
            <pc:sldMk cId="2490428422" sldId="9772"/>
            <ac:picMk id="4098" creationId="{34789D0A-5629-4DD9-9AD1-BBAE1B33A4AD}"/>
          </ac:picMkLst>
        </pc:picChg>
        <pc:cxnChg chg="add mod">
          <ac:chgData name="Nicole Welch" userId="4bbf8b27-f36f-4029-b936-1f4b065af9e0" providerId="ADAL" clId="{ECA9C3CA-5503-447D-9886-71BEF1A6310E}" dt="2019-10-16T17:41:37.534" v="1115" actId="11529"/>
          <ac:cxnSpMkLst>
            <pc:docMk/>
            <pc:sldMk cId="2490428422" sldId="9772"/>
            <ac:cxnSpMk id="16" creationId="{E523203C-E5DA-4125-AF8D-E24BD1FED9F0}"/>
          </ac:cxnSpMkLst>
        </pc:cxnChg>
        <pc:cxnChg chg="add">
          <ac:chgData name="Nicole Welch" userId="4bbf8b27-f36f-4029-b936-1f4b065af9e0" providerId="ADAL" clId="{ECA9C3CA-5503-447D-9886-71BEF1A6310E}" dt="2019-10-16T17:41:43.936" v="1116" actId="11529"/>
          <ac:cxnSpMkLst>
            <pc:docMk/>
            <pc:sldMk cId="2490428422" sldId="9772"/>
            <ac:cxnSpMk id="18" creationId="{45A87061-E6BC-48A1-8FC4-0497233A2BFA}"/>
          </ac:cxnSpMkLst>
        </pc:cxnChg>
        <pc:cxnChg chg="add del mod">
          <ac:chgData name="Nicole Welch" userId="4bbf8b27-f36f-4029-b936-1f4b065af9e0" providerId="ADAL" clId="{ECA9C3CA-5503-447D-9886-71BEF1A6310E}" dt="2019-10-16T17:42:01.067" v="1118" actId="478"/>
          <ac:cxnSpMkLst>
            <pc:docMk/>
            <pc:sldMk cId="2490428422" sldId="9772"/>
            <ac:cxnSpMk id="20" creationId="{9FAC896D-36AA-4A16-AE1E-1C88859C26EF}"/>
          </ac:cxnSpMkLst>
        </pc:cxnChg>
      </pc:sldChg>
      <pc:sldChg chg="add del">
        <pc:chgData name="Nicole Welch" userId="4bbf8b27-f36f-4029-b936-1f4b065af9e0" providerId="ADAL" clId="{ECA9C3CA-5503-447D-9886-71BEF1A6310E}" dt="2019-10-16T17:44:34.192" v="1204" actId="47"/>
        <pc:sldMkLst>
          <pc:docMk/>
          <pc:sldMk cId="3066528064" sldId="9773"/>
        </pc:sldMkLst>
      </pc:sldChg>
      <pc:sldChg chg="add del">
        <pc:chgData name="Nicole Welch" userId="4bbf8b27-f36f-4029-b936-1f4b065af9e0" providerId="ADAL" clId="{ECA9C3CA-5503-447D-9886-71BEF1A6310E}" dt="2019-10-16T17:44:52.228" v="1206" actId="47"/>
        <pc:sldMkLst>
          <pc:docMk/>
          <pc:sldMk cId="3500155469" sldId="9774"/>
        </pc:sldMkLst>
      </pc:sldChg>
      <pc:sldChg chg="add del">
        <pc:chgData name="Nicole Welch" userId="4bbf8b27-f36f-4029-b936-1f4b065af9e0" providerId="ADAL" clId="{ECA9C3CA-5503-447D-9886-71BEF1A6310E}" dt="2019-10-16T18:29:43.261" v="2168" actId="47"/>
        <pc:sldMkLst>
          <pc:docMk/>
          <pc:sldMk cId="557788067" sldId="9775"/>
        </pc:sldMkLst>
      </pc:sldChg>
      <pc:sldChg chg="add del">
        <pc:chgData name="Nicole Welch" userId="4bbf8b27-f36f-4029-b936-1f4b065af9e0" providerId="ADAL" clId="{ECA9C3CA-5503-447D-9886-71BEF1A6310E}" dt="2019-10-16T20:18:48.853" v="2806" actId="47"/>
        <pc:sldMkLst>
          <pc:docMk/>
          <pc:sldMk cId="496809898" sldId="9776"/>
        </pc:sldMkLst>
      </pc:sldChg>
      <pc:sldChg chg="add del">
        <pc:chgData name="Nicole Welch" userId="4bbf8b27-f36f-4029-b936-1f4b065af9e0" providerId="ADAL" clId="{ECA9C3CA-5503-447D-9886-71BEF1A6310E}" dt="2019-10-16T16:56:38.608" v="603"/>
        <pc:sldMkLst>
          <pc:docMk/>
          <pc:sldMk cId="299622658" sldId="9777"/>
        </pc:sldMkLst>
      </pc:sldChg>
      <pc:sldChg chg="add del">
        <pc:chgData name="Nicole Welch" userId="4bbf8b27-f36f-4029-b936-1f4b065af9e0" providerId="ADAL" clId="{ECA9C3CA-5503-447D-9886-71BEF1A6310E}" dt="2019-10-16T16:56:13.225" v="600" actId="47"/>
        <pc:sldMkLst>
          <pc:docMk/>
          <pc:sldMk cId="1451517557" sldId="9777"/>
        </pc:sldMkLst>
      </pc:sldChg>
      <pc:sldChg chg="addSp delSp modSp new del mod modClrScheme chgLayout">
        <pc:chgData name="Nicole Welch" userId="4bbf8b27-f36f-4029-b936-1f4b065af9e0" providerId="ADAL" clId="{ECA9C3CA-5503-447D-9886-71BEF1A6310E}" dt="2019-10-16T17:34:55.508" v="912" actId="47"/>
        <pc:sldMkLst>
          <pc:docMk/>
          <pc:sldMk cId="1902678299" sldId="9777"/>
        </pc:sldMkLst>
        <pc:spChg chg="del">
          <ac:chgData name="Nicole Welch" userId="4bbf8b27-f36f-4029-b936-1f4b065af9e0" providerId="ADAL" clId="{ECA9C3CA-5503-447D-9886-71BEF1A6310E}" dt="2019-10-16T16:57:00.110" v="605" actId="700"/>
          <ac:spMkLst>
            <pc:docMk/>
            <pc:sldMk cId="1902678299" sldId="9777"/>
            <ac:spMk id="2" creationId="{85EBE1B4-E5D0-4049-957D-5B72AAD8D7C6}"/>
          </ac:spMkLst>
        </pc:spChg>
        <pc:spChg chg="add del mod">
          <ac:chgData name="Nicole Welch" userId="4bbf8b27-f36f-4029-b936-1f4b065af9e0" providerId="ADAL" clId="{ECA9C3CA-5503-447D-9886-71BEF1A6310E}" dt="2019-10-16T16:57:11.065" v="607" actId="478"/>
          <ac:spMkLst>
            <pc:docMk/>
            <pc:sldMk cId="1902678299" sldId="9777"/>
            <ac:spMk id="3" creationId="{8C3E5720-F5A3-4968-88DA-FEA06CACF058}"/>
          </ac:spMkLst>
        </pc:spChg>
        <pc:spChg chg="add del mod">
          <ac:chgData name="Nicole Welch" userId="4bbf8b27-f36f-4029-b936-1f4b065af9e0" providerId="ADAL" clId="{ECA9C3CA-5503-447D-9886-71BEF1A6310E}" dt="2019-10-16T16:57:08.602" v="606" actId="478"/>
          <ac:spMkLst>
            <pc:docMk/>
            <pc:sldMk cId="1902678299" sldId="9777"/>
            <ac:spMk id="4" creationId="{25088295-A35C-4A11-B8DF-AC90722582DC}"/>
          </ac:spMkLst>
        </pc:spChg>
        <pc:spChg chg="add del mod">
          <ac:chgData name="Nicole Welch" userId="4bbf8b27-f36f-4029-b936-1f4b065af9e0" providerId="ADAL" clId="{ECA9C3CA-5503-447D-9886-71BEF1A6310E}" dt="2019-10-16T16:57:27.205" v="609" actId="478"/>
          <ac:spMkLst>
            <pc:docMk/>
            <pc:sldMk cId="1902678299" sldId="9777"/>
            <ac:spMk id="5" creationId="{AA0A1331-F621-4F65-B0B4-C3B26661327F}"/>
          </ac:spMkLst>
        </pc:spChg>
        <pc:graphicFrameChg chg="mod">
          <ac:chgData name="Nicole Welch" userId="4bbf8b27-f36f-4029-b936-1f4b065af9e0" providerId="ADAL" clId="{ECA9C3CA-5503-447D-9886-71BEF1A6310E}" dt="2019-10-16T17:34:44.485" v="910"/>
          <ac:graphicFrameMkLst>
            <pc:docMk/>
            <pc:sldMk cId="1902678299" sldId="9777"/>
            <ac:graphicFrameMk id="6" creationId="{5B98D4CC-674C-4CCF-A5A5-0DABCC38858C}"/>
          </ac:graphicFrameMkLst>
        </pc:graphicFrameChg>
      </pc:sldChg>
      <pc:sldChg chg="add del">
        <pc:chgData name="Nicole Welch" userId="4bbf8b27-f36f-4029-b936-1f4b065af9e0" providerId="ADAL" clId="{ECA9C3CA-5503-447D-9886-71BEF1A6310E}" dt="2019-10-16T17:44:34.192" v="1204" actId="47"/>
        <pc:sldMkLst>
          <pc:docMk/>
          <pc:sldMk cId="873937443" sldId="9778"/>
        </pc:sldMkLst>
      </pc:sldChg>
      <pc:sldChg chg="addSp delSp modSp add del mod modClrScheme chgLayout">
        <pc:chgData name="Nicole Welch" userId="4bbf8b27-f36f-4029-b936-1f4b065af9e0" providerId="ADAL" clId="{ECA9C3CA-5503-447D-9886-71BEF1A6310E}" dt="2019-10-16T17:50:32.442" v="1506" actId="47"/>
        <pc:sldMkLst>
          <pc:docMk/>
          <pc:sldMk cId="2192188802" sldId="9779"/>
        </pc:sldMkLst>
        <pc:spChg chg="add mod ord">
          <ac:chgData name="Nicole Welch" userId="4bbf8b27-f36f-4029-b936-1f4b065af9e0" providerId="ADAL" clId="{ECA9C3CA-5503-447D-9886-71BEF1A6310E}" dt="2019-10-16T16:58:18.215" v="617" actId="700"/>
          <ac:spMkLst>
            <pc:docMk/>
            <pc:sldMk cId="2192188802" sldId="9779"/>
            <ac:spMk id="2" creationId="{5484DA02-F484-4EBD-B38B-65DDB29A88D7}"/>
          </ac:spMkLst>
        </pc:spChg>
        <pc:graphicFrameChg chg="add del">
          <ac:chgData name="Nicole Welch" userId="4bbf8b27-f36f-4029-b936-1f4b065af9e0" providerId="ADAL" clId="{ECA9C3CA-5503-447D-9886-71BEF1A6310E}" dt="2019-10-16T16:58:24.036" v="620" actId="478"/>
          <ac:graphicFrameMkLst>
            <pc:docMk/>
            <pc:sldMk cId="2192188802" sldId="9779"/>
            <ac:graphicFrameMk id="6" creationId="{5B98D4CC-674C-4CCF-A5A5-0DABCC38858C}"/>
          </ac:graphicFrameMkLst>
        </pc:graphicFrameChg>
      </pc:sldChg>
      <pc:sldChg chg="modSp add">
        <pc:chgData name="Nicole Welch" userId="4bbf8b27-f36f-4029-b936-1f4b065af9e0" providerId="ADAL" clId="{ECA9C3CA-5503-447D-9886-71BEF1A6310E}" dt="2019-10-16T17:24:12.402" v="803" actId="13926"/>
        <pc:sldMkLst>
          <pc:docMk/>
          <pc:sldMk cId="628098638" sldId="9780"/>
        </pc:sldMkLst>
        <pc:spChg chg="mod">
          <ac:chgData name="Nicole Welch" userId="4bbf8b27-f36f-4029-b936-1f4b065af9e0" providerId="ADAL" clId="{ECA9C3CA-5503-447D-9886-71BEF1A6310E}" dt="2019-10-16T17:24:12.402" v="803" actId="13926"/>
          <ac:spMkLst>
            <pc:docMk/>
            <pc:sldMk cId="628098638" sldId="9780"/>
            <ac:spMk id="134" creationId="{8E1F4DC8-AB65-4B88-B97D-FCABEA6AC582}"/>
          </ac:spMkLst>
        </pc:spChg>
      </pc:sldChg>
      <pc:sldChg chg="modSp add">
        <pc:chgData name="Nicole Welch" userId="4bbf8b27-f36f-4029-b936-1f4b065af9e0" providerId="ADAL" clId="{ECA9C3CA-5503-447D-9886-71BEF1A6310E}" dt="2019-10-16T17:35:03.660" v="913" actId="400"/>
        <pc:sldMkLst>
          <pc:docMk/>
          <pc:sldMk cId="3193471013" sldId="9781"/>
        </pc:sldMkLst>
        <pc:graphicFrameChg chg="modGraphic">
          <ac:chgData name="Nicole Welch" userId="4bbf8b27-f36f-4029-b936-1f4b065af9e0" providerId="ADAL" clId="{ECA9C3CA-5503-447D-9886-71BEF1A6310E}" dt="2019-10-16T17:35:03.660" v="913" actId="400"/>
          <ac:graphicFrameMkLst>
            <pc:docMk/>
            <pc:sldMk cId="3193471013" sldId="9781"/>
            <ac:graphicFrameMk id="7" creationId="{271A7CC8-81DD-4A8B-8079-5DC14A06DE43}"/>
          </ac:graphicFrameMkLst>
        </pc:graphicFrameChg>
      </pc:sldChg>
      <pc:sldChg chg="delSp modSp add delAnim">
        <pc:chgData name="Nicole Welch" userId="4bbf8b27-f36f-4029-b936-1f4b065af9e0" providerId="ADAL" clId="{ECA9C3CA-5503-447D-9886-71BEF1A6310E}" dt="2019-10-16T20:01:52.463" v="2598" actId="20577"/>
        <pc:sldMkLst>
          <pc:docMk/>
          <pc:sldMk cId="3278079682" sldId="9782"/>
        </pc:sldMkLst>
        <pc:spChg chg="mod">
          <ac:chgData name="Nicole Welch" userId="4bbf8b27-f36f-4029-b936-1f4b065af9e0" providerId="ADAL" clId="{ECA9C3CA-5503-447D-9886-71BEF1A6310E}" dt="2019-10-16T17:44:59.413" v="1221" actId="20577"/>
          <ac:spMkLst>
            <pc:docMk/>
            <pc:sldMk cId="3278079682" sldId="9782"/>
            <ac:spMk id="3" creationId="{CC043030-27E8-46BC-9111-5AEEA65A29DB}"/>
          </ac:spMkLst>
        </pc:spChg>
        <pc:spChg chg="mod">
          <ac:chgData name="Nicole Welch" userId="4bbf8b27-f36f-4029-b936-1f4b065af9e0" providerId="ADAL" clId="{ECA9C3CA-5503-447D-9886-71BEF1A6310E}" dt="2019-10-16T20:01:52.463" v="2598" actId="20577"/>
          <ac:spMkLst>
            <pc:docMk/>
            <pc:sldMk cId="3278079682" sldId="9782"/>
            <ac:spMk id="6" creationId="{E82AF2CA-3E44-4D97-8EB5-C7709F657D3D}"/>
          </ac:spMkLst>
        </pc:spChg>
        <pc:spChg chg="del mod">
          <ac:chgData name="Nicole Welch" userId="4bbf8b27-f36f-4029-b936-1f4b065af9e0" providerId="ADAL" clId="{ECA9C3CA-5503-447D-9886-71BEF1A6310E}" dt="2019-10-16T17:47:02.207" v="1231" actId="478"/>
          <ac:spMkLst>
            <pc:docMk/>
            <pc:sldMk cId="3278079682" sldId="9782"/>
            <ac:spMk id="10" creationId="{7DD2C812-4B7C-4DDF-9DE6-1D35A11B780C}"/>
          </ac:spMkLst>
        </pc:spChg>
        <pc:spChg chg="del">
          <ac:chgData name="Nicole Welch" userId="4bbf8b27-f36f-4029-b936-1f4b065af9e0" providerId="ADAL" clId="{ECA9C3CA-5503-447D-9886-71BEF1A6310E}" dt="2019-10-16T17:47:02.207" v="1231" actId="478"/>
          <ac:spMkLst>
            <pc:docMk/>
            <pc:sldMk cId="3278079682" sldId="9782"/>
            <ac:spMk id="13" creationId="{E7D8A650-6E27-4B79-B485-4DF0F6F85121}"/>
          </ac:spMkLst>
        </pc:spChg>
        <pc:spChg chg="del mod">
          <ac:chgData name="Nicole Welch" userId="4bbf8b27-f36f-4029-b936-1f4b065af9e0" providerId="ADAL" clId="{ECA9C3CA-5503-447D-9886-71BEF1A6310E}" dt="2019-10-16T17:47:02.207" v="1231" actId="478"/>
          <ac:spMkLst>
            <pc:docMk/>
            <pc:sldMk cId="3278079682" sldId="9782"/>
            <ac:spMk id="14" creationId="{F2E7BCBC-7A8F-4C1F-B7A6-2059A9D4BAAC}"/>
          </ac:spMkLst>
        </pc:spChg>
        <pc:spChg chg="del">
          <ac:chgData name="Nicole Welch" userId="4bbf8b27-f36f-4029-b936-1f4b065af9e0" providerId="ADAL" clId="{ECA9C3CA-5503-447D-9886-71BEF1A6310E}" dt="2019-10-16T17:46:47.880" v="1222" actId="478"/>
          <ac:spMkLst>
            <pc:docMk/>
            <pc:sldMk cId="3278079682" sldId="9782"/>
            <ac:spMk id="21" creationId="{3D4581DD-BE02-474D-AC51-963ADF4C5F38}"/>
          </ac:spMkLst>
        </pc:spChg>
        <pc:picChg chg="del">
          <ac:chgData name="Nicole Welch" userId="4bbf8b27-f36f-4029-b936-1f4b065af9e0" providerId="ADAL" clId="{ECA9C3CA-5503-447D-9886-71BEF1A6310E}" dt="2019-10-16T17:46:51.648" v="1225" actId="478"/>
          <ac:picMkLst>
            <pc:docMk/>
            <pc:sldMk cId="3278079682" sldId="9782"/>
            <ac:picMk id="7" creationId="{1870DC5E-8887-4CAE-98D3-68630D3ADB8C}"/>
          </ac:picMkLst>
        </pc:picChg>
        <pc:picChg chg="del">
          <ac:chgData name="Nicole Welch" userId="4bbf8b27-f36f-4029-b936-1f4b065af9e0" providerId="ADAL" clId="{ECA9C3CA-5503-447D-9886-71BEF1A6310E}" dt="2019-10-16T17:46:49.595" v="1224" actId="478"/>
          <ac:picMkLst>
            <pc:docMk/>
            <pc:sldMk cId="3278079682" sldId="9782"/>
            <ac:picMk id="11" creationId="{35D9F965-A7A8-447F-8800-6FB4FFD3F731}"/>
          </ac:picMkLst>
        </pc:picChg>
        <pc:picChg chg="del">
          <ac:chgData name="Nicole Welch" userId="4bbf8b27-f36f-4029-b936-1f4b065af9e0" providerId="ADAL" clId="{ECA9C3CA-5503-447D-9886-71BEF1A6310E}" dt="2019-10-16T17:46:54.257" v="1228" actId="478"/>
          <ac:picMkLst>
            <pc:docMk/>
            <pc:sldMk cId="3278079682" sldId="9782"/>
            <ac:picMk id="12" creationId="{52E07F12-E92A-4719-B8B9-AF1DFB584BC5}"/>
          </ac:picMkLst>
        </pc:picChg>
        <pc:picChg chg="del">
          <ac:chgData name="Nicole Welch" userId="4bbf8b27-f36f-4029-b936-1f4b065af9e0" providerId="ADAL" clId="{ECA9C3CA-5503-447D-9886-71BEF1A6310E}" dt="2019-10-16T17:46:49.017" v="1223" actId="478"/>
          <ac:picMkLst>
            <pc:docMk/>
            <pc:sldMk cId="3278079682" sldId="9782"/>
            <ac:picMk id="4098" creationId="{34789D0A-5629-4DD9-9AD1-BBAE1B33A4AD}"/>
          </ac:picMkLst>
        </pc:picChg>
        <pc:cxnChg chg="del mod">
          <ac:chgData name="Nicole Welch" userId="4bbf8b27-f36f-4029-b936-1f4b065af9e0" providerId="ADAL" clId="{ECA9C3CA-5503-447D-9886-71BEF1A6310E}" dt="2019-10-16T17:46:53.224" v="1227" actId="478"/>
          <ac:cxnSpMkLst>
            <pc:docMk/>
            <pc:sldMk cId="3278079682" sldId="9782"/>
            <ac:cxnSpMk id="16" creationId="{E523203C-E5DA-4125-AF8D-E24BD1FED9F0}"/>
          </ac:cxnSpMkLst>
        </pc:cxnChg>
        <pc:cxnChg chg="del mod">
          <ac:chgData name="Nicole Welch" userId="4bbf8b27-f36f-4029-b936-1f4b065af9e0" providerId="ADAL" clId="{ECA9C3CA-5503-447D-9886-71BEF1A6310E}" dt="2019-10-16T17:46:52.518" v="1226" actId="478"/>
          <ac:cxnSpMkLst>
            <pc:docMk/>
            <pc:sldMk cId="3278079682" sldId="9782"/>
            <ac:cxnSpMk id="18" creationId="{45A87061-E6BC-48A1-8FC4-0497233A2BFA}"/>
          </ac:cxnSpMkLst>
        </pc:cxnChg>
      </pc:sldChg>
      <pc:sldChg chg="modSp add">
        <pc:chgData name="Nicole Welch" userId="4bbf8b27-f36f-4029-b936-1f4b065af9e0" providerId="ADAL" clId="{ECA9C3CA-5503-447D-9886-71BEF1A6310E}" dt="2019-10-16T20:10:31.718" v="2770" actId="20577"/>
        <pc:sldMkLst>
          <pc:docMk/>
          <pc:sldMk cId="711477193" sldId="9783"/>
        </pc:sldMkLst>
        <pc:spChg chg="mod">
          <ac:chgData name="Nicole Welch" userId="4bbf8b27-f36f-4029-b936-1f4b065af9e0" providerId="ADAL" clId="{ECA9C3CA-5503-447D-9886-71BEF1A6310E}" dt="2019-10-16T20:08:25.075" v="2687" actId="20577"/>
          <ac:spMkLst>
            <pc:docMk/>
            <pc:sldMk cId="711477193" sldId="9783"/>
            <ac:spMk id="3" creationId="{CC043030-27E8-46BC-9111-5AEEA65A29DB}"/>
          </ac:spMkLst>
        </pc:spChg>
        <pc:spChg chg="mod">
          <ac:chgData name="Nicole Welch" userId="4bbf8b27-f36f-4029-b936-1f4b065af9e0" providerId="ADAL" clId="{ECA9C3CA-5503-447D-9886-71BEF1A6310E}" dt="2019-10-16T20:10:31.718" v="2770" actId="20577"/>
          <ac:spMkLst>
            <pc:docMk/>
            <pc:sldMk cId="711477193" sldId="9783"/>
            <ac:spMk id="6" creationId="{E82AF2CA-3E44-4D97-8EB5-C7709F657D3D}"/>
          </ac:spMkLst>
        </pc:spChg>
      </pc:sldChg>
      <pc:sldChg chg="addSp delSp modSp new mod modClrScheme chgLayout">
        <pc:chgData name="Nicole Welch" userId="4bbf8b27-f36f-4029-b936-1f4b065af9e0" providerId="ADAL" clId="{ECA9C3CA-5503-447D-9886-71BEF1A6310E}" dt="2019-10-16T18:47:47.554" v="2314" actId="255"/>
        <pc:sldMkLst>
          <pc:docMk/>
          <pc:sldMk cId="2452789499" sldId="9784"/>
        </pc:sldMkLst>
        <pc:spChg chg="del">
          <ac:chgData name="Nicole Welch" userId="4bbf8b27-f36f-4029-b936-1f4b065af9e0" providerId="ADAL" clId="{ECA9C3CA-5503-447D-9886-71BEF1A6310E}" dt="2019-10-16T18:43:41.645" v="2202" actId="700"/>
          <ac:spMkLst>
            <pc:docMk/>
            <pc:sldMk cId="2452789499" sldId="9784"/>
            <ac:spMk id="2" creationId="{B8165B8B-430B-43D9-902D-C7DCB1C109D4}"/>
          </ac:spMkLst>
        </pc:spChg>
        <pc:spChg chg="del mod ord">
          <ac:chgData name="Nicole Welch" userId="4bbf8b27-f36f-4029-b936-1f4b065af9e0" providerId="ADAL" clId="{ECA9C3CA-5503-447D-9886-71BEF1A6310E}" dt="2019-10-16T18:43:41.645" v="2202" actId="700"/>
          <ac:spMkLst>
            <pc:docMk/>
            <pc:sldMk cId="2452789499" sldId="9784"/>
            <ac:spMk id="3" creationId="{207CCA4E-C228-4D69-8828-C21746AAEC91}"/>
          </ac:spMkLst>
        </pc:spChg>
        <pc:spChg chg="del">
          <ac:chgData name="Nicole Welch" userId="4bbf8b27-f36f-4029-b936-1f4b065af9e0" providerId="ADAL" clId="{ECA9C3CA-5503-447D-9886-71BEF1A6310E}" dt="2019-10-16T18:43:41.645" v="2202" actId="700"/>
          <ac:spMkLst>
            <pc:docMk/>
            <pc:sldMk cId="2452789499" sldId="9784"/>
            <ac:spMk id="4" creationId="{1625D228-B5B7-4CDE-80AE-6BC5889C1995}"/>
          </ac:spMkLst>
        </pc:spChg>
        <pc:spChg chg="add del mod ord">
          <ac:chgData name="Nicole Welch" userId="4bbf8b27-f36f-4029-b936-1f4b065af9e0" providerId="ADAL" clId="{ECA9C3CA-5503-447D-9886-71BEF1A6310E}" dt="2019-10-16T18:43:51.070" v="2203" actId="700"/>
          <ac:spMkLst>
            <pc:docMk/>
            <pc:sldMk cId="2452789499" sldId="9784"/>
            <ac:spMk id="5" creationId="{B76BA5EE-3C64-4BBE-A6E2-356587969ACE}"/>
          </ac:spMkLst>
        </pc:spChg>
        <pc:spChg chg="add mod">
          <ac:chgData name="Nicole Welch" userId="4bbf8b27-f36f-4029-b936-1f4b065af9e0" providerId="ADAL" clId="{ECA9C3CA-5503-447D-9886-71BEF1A6310E}" dt="2019-10-16T18:47:47.554" v="2314" actId="255"/>
          <ac:spMkLst>
            <pc:docMk/>
            <pc:sldMk cId="2452789499" sldId="9784"/>
            <ac:spMk id="6" creationId="{449E24D4-ED4D-4101-8CAF-40D8FD7F11B3}"/>
          </ac:spMkLst>
        </pc:spChg>
      </pc:sldChg>
      <pc:sldChg chg="addSp modSp new mod modClrScheme modShow chgLayout">
        <pc:chgData name="Nicole Welch" userId="4bbf8b27-f36f-4029-b936-1f4b065af9e0" providerId="ADAL" clId="{ECA9C3CA-5503-447D-9886-71BEF1A6310E}" dt="2019-10-16T20:21:07.239" v="2980"/>
        <pc:sldMkLst>
          <pc:docMk/>
          <pc:sldMk cId="3174612632" sldId="9785"/>
        </pc:sldMkLst>
        <pc:spChg chg="add mod ord">
          <ac:chgData name="Nicole Welch" userId="4bbf8b27-f36f-4029-b936-1f4b065af9e0" providerId="ADAL" clId="{ECA9C3CA-5503-447D-9886-71BEF1A6310E}" dt="2019-10-16T18:52:06.978" v="2337" actId="700"/>
          <ac:spMkLst>
            <pc:docMk/>
            <pc:sldMk cId="3174612632" sldId="9785"/>
            <ac:spMk id="2" creationId="{66A71CBC-319D-4D45-A26C-BB24B2AB2991}"/>
          </ac:spMkLst>
        </pc:spChg>
        <pc:spChg chg="add mod ord">
          <ac:chgData name="Nicole Welch" userId="4bbf8b27-f36f-4029-b936-1f4b065af9e0" providerId="ADAL" clId="{ECA9C3CA-5503-447D-9886-71BEF1A6310E}" dt="2019-10-16T20:21:07.239" v="2980"/>
          <ac:spMkLst>
            <pc:docMk/>
            <pc:sldMk cId="3174612632" sldId="9785"/>
            <ac:spMk id="3" creationId="{7C761316-DE71-4146-ACDA-EA7F4FD4D4EC}"/>
          </ac:spMkLst>
        </pc:spChg>
      </pc:sldChg>
      <pc:sldChg chg="add">
        <pc:chgData name="Nicole Welch" userId="4bbf8b27-f36f-4029-b936-1f4b065af9e0" providerId="ADAL" clId="{ECA9C3CA-5503-447D-9886-71BEF1A6310E}" dt="2019-10-16T20:14:40.123" v="2804"/>
        <pc:sldMkLst>
          <pc:docMk/>
          <pc:sldMk cId="2478391950" sldId="9786"/>
        </pc:sldMkLst>
      </pc:sldChg>
      <pc:sldChg chg="modSp add">
        <pc:chgData name="Nicole Welch" userId="4bbf8b27-f36f-4029-b936-1f4b065af9e0" providerId="ADAL" clId="{ECA9C3CA-5503-447D-9886-71BEF1A6310E}" dt="2019-10-16T20:20:00.487" v="2938" actId="5793"/>
        <pc:sldMkLst>
          <pc:docMk/>
          <pc:sldMk cId="1156615156" sldId="9787"/>
        </pc:sldMkLst>
        <pc:spChg chg="mod">
          <ac:chgData name="Nicole Welch" userId="4bbf8b27-f36f-4029-b936-1f4b065af9e0" providerId="ADAL" clId="{ECA9C3CA-5503-447D-9886-71BEF1A6310E}" dt="2019-10-16T20:19:50.259" v="2936" actId="20577"/>
          <ac:spMkLst>
            <pc:docMk/>
            <pc:sldMk cId="1156615156" sldId="9787"/>
            <ac:spMk id="3" creationId="{CC043030-27E8-46BC-9111-5AEEA65A29DB}"/>
          </ac:spMkLst>
        </pc:spChg>
        <pc:spChg chg="mod">
          <ac:chgData name="Nicole Welch" userId="4bbf8b27-f36f-4029-b936-1f4b065af9e0" providerId="ADAL" clId="{ECA9C3CA-5503-447D-9886-71BEF1A6310E}" dt="2019-10-16T20:20:00.487" v="2938" actId="5793"/>
          <ac:spMkLst>
            <pc:docMk/>
            <pc:sldMk cId="1156615156" sldId="9787"/>
            <ac:spMk id="6" creationId="{E82AF2CA-3E44-4D97-8EB5-C7709F657D3D}"/>
          </ac:spMkLst>
        </pc:spChg>
      </pc:sldChg>
      <pc:sldMasterChg chg="modSldLayout">
        <pc:chgData name="Nicole Welch" userId="4bbf8b27-f36f-4029-b936-1f4b065af9e0" providerId="ADAL" clId="{ECA9C3CA-5503-447D-9886-71BEF1A6310E}" dt="2019-10-16T17:24:47.526" v="808"/>
        <pc:sldMasterMkLst>
          <pc:docMk/>
          <pc:sldMasterMk cId="2244018453" sldId="2147483686"/>
        </pc:sldMasterMkLst>
        <pc:sldLayoutChg chg="setBg">
          <pc:chgData name="Nicole Welch" userId="4bbf8b27-f36f-4029-b936-1f4b065af9e0" providerId="ADAL" clId="{ECA9C3CA-5503-447D-9886-71BEF1A6310E}" dt="2019-10-16T17:24:47.526" v="808"/>
          <pc:sldLayoutMkLst>
            <pc:docMk/>
            <pc:sldMasterMk cId="2244018453" sldId="2147483686"/>
            <pc:sldLayoutMk cId="3771381847" sldId="2147483687"/>
          </pc:sldLayoutMkLst>
        </pc:sldLayoutChg>
        <pc:sldLayoutChg chg="setBg">
          <pc:chgData name="Nicole Welch" userId="4bbf8b27-f36f-4029-b936-1f4b065af9e0" providerId="ADAL" clId="{ECA9C3CA-5503-447D-9886-71BEF1A6310E}" dt="2019-10-16T17:24:47.526" v="808"/>
          <pc:sldLayoutMkLst>
            <pc:docMk/>
            <pc:sldMasterMk cId="2244018453" sldId="2147483686"/>
            <pc:sldLayoutMk cId="1269905255" sldId="2147483703"/>
          </pc:sldLayoutMkLst>
        </pc:sldLayoutChg>
        <pc:sldLayoutChg chg="setBg">
          <pc:chgData name="Nicole Welch" userId="4bbf8b27-f36f-4029-b936-1f4b065af9e0" providerId="ADAL" clId="{ECA9C3CA-5503-447D-9886-71BEF1A6310E}" dt="2019-10-16T17:24:47.526" v="808"/>
          <pc:sldLayoutMkLst>
            <pc:docMk/>
            <pc:sldMasterMk cId="2244018453" sldId="2147483686"/>
            <pc:sldLayoutMk cId="2965936416" sldId="2147483704"/>
          </pc:sldLayoutMkLst>
        </pc:sldLayoutChg>
      </pc:sldMasterChg>
      <pc:sldMasterChg chg="delSldLayout modSldLayout">
        <pc:chgData name="Nicole Welch" userId="4bbf8b27-f36f-4029-b936-1f4b065af9e0" providerId="ADAL" clId="{ECA9C3CA-5503-447D-9886-71BEF1A6310E}" dt="2019-10-16T17:24:47.526" v="808"/>
        <pc:sldMasterMkLst>
          <pc:docMk/>
          <pc:sldMasterMk cId="728130021" sldId="2147483705"/>
        </pc:sldMasterMkLst>
        <pc:sldLayoutChg chg="setBg">
          <pc:chgData name="Nicole Welch" userId="4bbf8b27-f36f-4029-b936-1f4b065af9e0" providerId="ADAL" clId="{ECA9C3CA-5503-447D-9886-71BEF1A6310E}" dt="2019-10-16T17:24:47.526" v="808"/>
          <pc:sldLayoutMkLst>
            <pc:docMk/>
            <pc:sldMasterMk cId="728130021" sldId="2147483705"/>
            <pc:sldLayoutMk cId="2599945857" sldId="2147483706"/>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1413199342" sldId="2147483709"/>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430211710" sldId="2147483710"/>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4152180675" sldId="2147483711"/>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701536459" sldId="2147483712"/>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731916862" sldId="2147483714"/>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349103255" sldId="2147483716"/>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361043112" sldId="2147483717"/>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2807219833" sldId="2147483718"/>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4078510641" sldId="2147483719"/>
          </pc:sldLayoutMkLst>
        </pc:sldLayoutChg>
        <pc:sldLayoutChg chg="setBg">
          <pc:chgData name="Nicole Welch" userId="4bbf8b27-f36f-4029-b936-1f4b065af9e0" providerId="ADAL" clId="{ECA9C3CA-5503-447D-9886-71BEF1A6310E}" dt="2019-10-16T17:24:47.526" v="808"/>
          <pc:sldLayoutMkLst>
            <pc:docMk/>
            <pc:sldMasterMk cId="728130021" sldId="2147483705"/>
            <pc:sldLayoutMk cId="802570710" sldId="2147483721"/>
          </pc:sldLayoutMkLst>
        </pc:sldLayoutChg>
        <pc:sldLayoutChg chg="del">
          <pc:chgData name="Nicole Welch" userId="4bbf8b27-f36f-4029-b936-1f4b065af9e0" providerId="ADAL" clId="{ECA9C3CA-5503-447D-9886-71BEF1A6310E}" dt="2019-10-16T16:56:13.225" v="600" actId="47"/>
          <pc:sldLayoutMkLst>
            <pc:docMk/>
            <pc:sldMasterMk cId="728130021" sldId="2147483705"/>
            <pc:sldLayoutMk cId="3431016431" sldId="2147483983"/>
          </pc:sldLayoutMkLst>
        </pc:sldLayoutChg>
      </pc:sldMasterChg>
      <pc:sldMasterChg chg="modSldLayout">
        <pc:chgData name="Nicole Welch" userId="4bbf8b27-f36f-4029-b936-1f4b065af9e0" providerId="ADAL" clId="{ECA9C3CA-5503-447D-9886-71BEF1A6310E}" dt="2019-10-16T17:24:47.526" v="808"/>
        <pc:sldMasterMkLst>
          <pc:docMk/>
          <pc:sldMasterMk cId="1431579216" sldId="2147483724"/>
        </pc:sldMasterMkLst>
        <pc:sldLayoutChg chg="setBg">
          <pc:chgData name="Nicole Welch" userId="4bbf8b27-f36f-4029-b936-1f4b065af9e0" providerId="ADAL" clId="{ECA9C3CA-5503-447D-9886-71BEF1A6310E}" dt="2019-10-16T17:24:47.526" v="808"/>
          <pc:sldLayoutMkLst>
            <pc:docMk/>
            <pc:sldMasterMk cId="1431579216" sldId="2147483724"/>
            <pc:sldLayoutMk cId="193980903" sldId="2147483725"/>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4032757" sldId="2147483726"/>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076091390" sldId="2147483727"/>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1066413897" sldId="2147483728"/>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2512205327" sldId="2147483734"/>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137205554" sldId="2147483735"/>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332128069" sldId="2147483737"/>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1027727419" sldId="2147483741"/>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2799389781" sldId="2147483743"/>
          </pc:sldLayoutMkLst>
        </pc:sldLayoutChg>
        <pc:sldLayoutChg chg="setBg">
          <pc:chgData name="Nicole Welch" userId="4bbf8b27-f36f-4029-b936-1f4b065af9e0" providerId="ADAL" clId="{ECA9C3CA-5503-447D-9886-71BEF1A6310E}" dt="2019-10-16T17:24:47.526" v="808"/>
          <pc:sldLayoutMkLst>
            <pc:docMk/>
            <pc:sldMasterMk cId="1431579216" sldId="2147483724"/>
            <pc:sldLayoutMk cId="3116000711" sldId="2147483744"/>
          </pc:sldLayoutMkLst>
        </pc:sldLayoutChg>
      </pc:sldMasterChg>
      <pc:sldMasterChg chg="modSldLayout">
        <pc:chgData name="Nicole Welch" userId="4bbf8b27-f36f-4029-b936-1f4b065af9e0" providerId="ADAL" clId="{ECA9C3CA-5503-447D-9886-71BEF1A6310E}" dt="2019-10-16T17:24:47.526" v="808"/>
        <pc:sldMasterMkLst>
          <pc:docMk/>
          <pc:sldMasterMk cId="284322253" sldId="2147483745"/>
        </pc:sldMasterMkLst>
        <pc:sldLayoutChg chg="setBg">
          <pc:chgData name="Nicole Welch" userId="4bbf8b27-f36f-4029-b936-1f4b065af9e0" providerId="ADAL" clId="{ECA9C3CA-5503-447D-9886-71BEF1A6310E}" dt="2019-10-16T17:24:47.526" v="808"/>
          <pc:sldLayoutMkLst>
            <pc:docMk/>
            <pc:sldMasterMk cId="284322253" sldId="2147483745"/>
            <pc:sldLayoutMk cId="1010136168" sldId="2147483746"/>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2174869837" sldId="2147483747"/>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791953913" sldId="2147483755"/>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3740765970" sldId="2147483759"/>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953789435" sldId="2147483760"/>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1142778059" sldId="2147483761"/>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4196383900" sldId="2147483762"/>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2028901866" sldId="2147483763"/>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1868821140" sldId="2147483764"/>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802459254" sldId="2147483766"/>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48684440" sldId="2147483768"/>
          </pc:sldLayoutMkLst>
        </pc:sldLayoutChg>
        <pc:sldLayoutChg chg="setBg">
          <pc:chgData name="Nicole Welch" userId="4bbf8b27-f36f-4029-b936-1f4b065af9e0" providerId="ADAL" clId="{ECA9C3CA-5503-447D-9886-71BEF1A6310E}" dt="2019-10-16T17:24:47.526" v="808"/>
          <pc:sldLayoutMkLst>
            <pc:docMk/>
            <pc:sldMasterMk cId="284322253" sldId="2147483745"/>
            <pc:sldLayoutMk cId="2754300966" sldId="2147483769"/>
          </pc:sldLayoutMkLst>
        </pc:sldLayoutChg>
      </pc:sldMasterChg>
      <pc:sldMasterChg chg="delSldLayout modSldLayout">
        <pc:chgData name="Nicole Welch" userId="4bbf8b27-f36f-4029-b936-1f4b065af9e0" providerId="ADAL" clId="{ECA9C3CA-5503-447D-9886-71BEF1A6310E}" dt="2019-10-16T17:24:47.526" v="808"/>
        <pc:sldMasterMkLst>
          <pc:docMk/>
          <pc:sldMasterMk cId="1056398067" sldId="2147483771"/>
        </pc:sldMasterMkLst>
        <pc:sldLayoutChg chg="setBg">
          <pc:chgData name="Nicole Welch" userId="4bbf8b27-f36f-4029-b936-1f4b065af9e0" providerId="ADAL" clId="{ECA9C3CA-5503-447D-9886-71BEF1A6310E}" dt="2019-10-16T17:24:47.526" v="808"/>
          <pc:sldLayoutMkLst>
            <pc:docMk/>
            <pc:sldMasterMk cId="1056398067" sldId="2147483771"/>
            <pc:sldLayoutMk cId="2447414281" sldId="2147483783"/>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4205334056" sldId="2147483784"/>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3819043074" sldId="2147483785"/>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1817929225" sldId="2147483786"/>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936378764" sldId="2147483787"/>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383281535" sldId="2147483789"/>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444441970" sldId="2147483790"/>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2438281878" sldId="2147483791"/>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1210415407" sldId="2147483794"/>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3683986240" sldId="2147483795"/>
          </pc:sldLayoutMkLst>
        </pc:sldLayoutChg>
        <pc:sldLayoutChg chg="setBg">
          <pc:chgData name="Nicole Welch" userId="4bbf8b27-f36f-4029-b936-1f4b065af9e0" providerId="ADAL" clId="{ECA9C3CA-5503-447D-9886-71BEF1A6310E}" dt="2019-10-16T17:24:47.526" v="808"/>
          <pc:sldLayoutMkLst>
            <pc:docMk/>
            <pc:sldMasterMk cId="1056398067" sldId="2147483771"/>
            <pc:sldLayoutMk cId="3476249329" sldId="2147483796"/>
          </pc:sldLayoutMkLst>
        </pc:sldLayoutChg>
        <pc:sldLayoutChg chg="del">
          <pc:chgData name="Nicole Welch" userId="4bbf8b27-f36f-4029-b936-1f4b065af9e0" providerId="ADAL" clId="{ECA9C3CA-5503-447D-9886-71BEF1A6310E}" dt="2019-10-16T16:49:23.831" v="574" actId="47"/>
          <pc:sldLayoutMkLst>
            <pc:docMk/>
            <pc:sldMasterMk cId="1056398067" sldId="2147483771"/>
            <pc:sldLayoutMk cId="1099052281" sldId="2147483939"/>
          </pc:sldLayoutMkLst>
        </pc:sldLayoutChg>
      </pc:sldMasterChg>
      <pc:sldMasterChg chg="modSldLayout">
        <pc:chgData name="Nicole Welch" userId="4bbf8b27-f36f-4029-b936-1f4b065af9e0" providerId="ADAL" clId="{ECA9C3CA-5503-447D-9886-71BEF1A6310E}" dt="2019-10-16T17:24:47.526" v="808"/>
        <pc:sldMasterMkLst>
          <pc:docMk/>
          <pc:sldMasterMk cId="1069840146" sldId="2147483808"/>
        </pc:sldMasterMkLst>
        <pc:sldLayoutChg chg="setBg">
          <pc:chgData name="Nicole Welch" userId="4bbf8b27-f36f-4029-b936-1f4b065af9e0" providerId="ADAL" clId="{ECA9C3CA-5503-447D-9886-71BEF1A6310E}" dt="2019-10-16T17:24:47.526" v="808"/>
          <pc:sldLayoutMkLst>
            <pc:docMk/>
            <pc:sldMasterMk cId="1069840146" sldId="2147483808"/>
            <pc:sldLayoutMk cId="1356947479" sldId="2147483809"/>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228473957" sldId="2147483810"/>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3052900487" sldId="2147483811"/>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3309733643" sldId="2147483812"/>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50425747" sldId="2147483813"/>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714135587" sldId="2147483814"/>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635864232" sldId="2147483815"/>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292325098" sldId="2147483823"/>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637313831" sldId="2147483824"/>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01998846" sldId="2147483825"/>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3698374155" sldId="2147483826"/>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616828228" sldId="2147483828"/>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1633008619" sldId="2147483830"/>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8371639" sldId="2147483831"/>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214254067" sldId="2147483835"/>
          </pc:sldLayoutMkLst>
        </pc:sldLayoutChg>
        <pc:sldLayoutChg chg="setBg">
          <pc:chgData name="Nicole Welch" userId="4bbf8b27-f36f-4029-b936-1f4b065af9e0" providerId="ADAL" clId="{ECA9C3CA-5503-447D-9886-71BEF1A6310E}" dt="2019-10-16T17:24:47.526" v="808"/>
          <pc:sldLayoutMkLst>
            <pc:docMk/>
            <pc:sldMasterMk cId="1069840146" sldId="2147483808"/>
            <pc:sldLayoutMk cId="697968464" sldId="2147483836"/>
          </pc:sldLayoutMkLst>
        </pc:sldLayoutChg>
      </pc:sldMasterChg>
      <pc:sldMasterChg chg="modSldLayout">
        <pc:chgData name="Nicole Welch" userId="4bbf8b27-f36f-4029-b936-1f4b065af9e0" providerId="ADAL" clId="{ECA9C3CA-5503-447D-9886-71BEF1A6310E}" dt="2019-10-16T16:59:21.424" v="625"/>
        <pc:sldMasterMkLst>
          <pc:docMk/>
          <pc:sldMasterMk cId="4229364987" sldId="2147483848"/>
        </pc:sldMasterMkLst>
        <pc:sldLayoutChg chg="modTransition">
          <pc:chgData name="Nicole Welch" userId="4bbf8b27-f36f-4029-b936-1f4b065af9e0" providerId="ADAL" clId="{ECA9C3CA-5503-447D-9886-71BEF1A6310E}" dt="2019-10-16T16:59:21.424" v="625"/>
          <pc:sldLayoutMkLst>
            <pc:docMk/>
            <pc:sldMasterMk cId="4229364987" sldId="2147483848"/>
            <pc:sldLayoutMk cId="3974008329" sldId="2147483875"/>
          </pc:sldLayoutMkLst>
        </pc:sldLayoutChg>
        <pc:sldLayoutChg chg="modTransition">
          <pc:chgData name="Nicole Welch" userId="4bbf8b27-f36f-4029-b936-1f4b065af9e0" providerId="ADAL" clId="{ECA9C3CA-5503-447D-9886-71BEF1A6310E}" dt="2019-10-16T16:59:21.424" v="625"/>
          <pc:sldLayoutMkLst>
            <pc:docMk/>
            <pc:sldMasterMk cId="4229364987" sldId="2147483848"/>
            <pc:sldLayoutMk cId="4282562386" sldId="2147483876"/>
          </pc:sldLayoutMkLst>
        </pc:sldLayoutChg>
      </pc:sldMasterChg>
      <pc:sldMasterChg chg="modSldLayout">
        <pc:chgData name="Nicole Welch" userId="4bbf8b27-f36f-4029-b936-1f4b065af9e0" providerId="ADAL" clId="{ECA9C3CA-5503-447D-9886-71BEF1A6310E}" dt="2019-10-16T17:24:47.526" v="808"/>
        <pc:sldMasterMkLst>
          <pc:docMk/>
          <pc:sldMasterMk cId="2135348036" sldId="2147483877"/>
        </pc:sldMasterMkLst>
        <pc:sldLayoutChg chg="modTransition">
          <pc:chgData name="Nicole Welch" userId="4bbf8b27-f36f-4029-b936-1f4b065af9e0" providerId="ADAL" clId="{ECA9C3CA-5503-447D-9886-71BEF1A6310E}" dt="2019-10-16T16:59:21.424" v="625"/>
          <pc:sldLayoutMkLst>
            <pc:docMk/>
            <pc:sldMasterMk cId="2135348036" sldId="2147483877"/>
            <pc:sldLayoutMk cId="4274196641" sldId="2147483878"/>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555104375" sldId="2147483879"/>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511767880" sldId="2147483881"/>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060884497" sldId="2147483882"/>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201092375" sldId="2147483883"/>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098665556" sldId="2147483884"/>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054816784" sldId="2147483885"/>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422362602" sldId="2147483886"/>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928275050" sldId="2147483887"/>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891273834" sldId="2147483888"/>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342376275" sldId="2147483890"/>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397701300" sldId="2147483891"/>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05166038" sldId="2147483892"/>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3893713366" sldId="2147483894"/>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934618635" sldId="2147483895"/>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271027946" sldId="2147483896"/>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508634607" sldId="2147483897"/>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102576279" sldId="2147483898"/>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610558940" sldId="2147483899"/>
          </pc:sldLayoutMkLst>
        </pc:sldLayoutChg>
        <pc:sldLayoutChg chg="modTransition setBg">
          <pc:chgData name="Nicole Welch" userId="4bbf8b27-f36f-4029-b936-1f4b065af9e0" providerId="ADAL" clId="{ECA9C3CA-5503-447D-9886-71BEF1A6310E}" dt="2019-10-16T17:24:47.526" v="808"/>
          <pc:sldLayoutMkLst>
            <pc:docMk/>
            <pc:sldMasterMk cId="2135348036" sldId="2147483877"/>
            <pc:sldLayoutMk cId="3987006437" sldId="2147483900"/>
          </pc:sldLayoutMkLst>
        </pc:sldLayoutChg>
        <pc:sldLayoutChg chg="modTransition setBg">
          <pc:chgData name="Nicole Welch" userId="4bbf8b27-f36f-4029-b936-1f4b065af9e0" providerId="ADAL" clId="{ECA9C3CA-5503-447D-9886-71BEF1A6310E}" dt="2019-10-16T17:24:47.526" v="808"/>
          <pc:sldLayoutMkLst>
            <pc:docMk/>
            <pc:sldMasterMk cId="2135348036" sldId="2147483877"/>
            <pc:sldLayoutMk cId="2511247598" sldId="2147483902"/>
          </pc:sldLayoutMkLst>
        </pc:sldLayoutChg>
        <pc:sldLayoutChg chg="modTransition">
          <pc:chgData name="Nicole Welch" userId="4bbf8b27-f36f-4029-b936-1f4b065af9e0" providerId="ADAL" clId="{ECA9C3CA-5503-447D-9886-71BEF1A6310E}" dt="2019-10-16T16:59:21.424" v="625"/>
          <pc:sldLayoutMkLst>
            <pc:docMk/>
            <pc:sldMasterMk cId="2135348036" sldId="2147483877"/>
            <pc:sldLayoutMk cId="1205868893" sldId="2147483905"/>
          </pc:sldLayoutMkLst>
        </pc:sldLayoutChg>
      </pc:sldMasterChg>
      <pc:sldMasterChg chg="modSldLayout">
        <pc:chgData name="Nicole Welch" userId="4bbf8b27-f36f-4029-b936-1f4b065af9e0" providerId="ADAL" clId="{ECA9C3CA-5503-447D-9886-71BEF1A6310E}" dt="2019-10-16T17:24:47.526" v="808"/>
        <pc:sldMasterMkLst>
          <pc:docMk/>
          <pc:sldMasterMk cId="4280480107" sldId="2147483909"/>
        </pc:sldMasterMkLst>
        <pc:sldLayoutChg chg="setBg">
          <pc:chgData name="Nicole Welch" userId="4bbf8b27-f36f-4029-b936-1f4b065af9e0" providerId="ADAL" clId="{ECA9C3CA-5503-447D-9886-71BEF1A6310E}" dt="2019-10-16T17:24:47.526" v="808"/>
          <pc:sldLayoutMkLst>
            <pc:docMk/>
            <pc:sldMasterMk cId="4280480107" sldId="2147483909"/>
            <pc:sldLayoutMk cId="4259454851" sldId="2147483910"/>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1941738333" sldId="2147483911"/>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2261313387" sldId="2147483919"/>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3850847532" sldId="2147483923"/>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2337662413" sldId="2147483924"/>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3034625986" sldId="2147483925"/>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1893344207" sldId="2147483926"/>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980284106" sldId="2147483927"/>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2245918241" sldId="2147483928"/>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491769571" sldId="2147483930"/>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724703080" sldId="2147483932"/>
          </pc:sldLayoutMkLst>
        </pc:sldLayoutChg>
        <pc:sldLayoutChg chg="setBg">
          <pc:chgData name="Nicole Welch" userId="4bbf8b27-f36f-4029-b936-1f4b065af9e0" providerId="ADAL" clId="{ECA9C3CA-5503-447D-9886-71BEF1A6310E}" dt="2019-10-16T17:24:47.526" v="808"/>
          <pc:sldLayoutMkLst>
            <pc:docMk/>
            <pc:sldMasterMk cId="4280480107" sldId="2147483909"/>
            <pc:sldLayoutMk cId="2265125641" sldId="2147483933"/>
          </pc:sldLayoutMkLst>
        </pc:sldLayoutChg>
      </pc:sldMasterChg>
      <pc:sldMasterChg chg="delSldLayout">
        <pc:chgData name="Nicole Welch" userId="4bbf8b27-f36f-4029-b936-1f4b065af9e0" providerId="ADAL" clId="{ECA9C3CA-5503-447D-9886-71BEF1A6310E}" dt="2019-10-16T16:45:02.255" v="506" actId="47"/>
        <pc:sldMasterMkLst>
          <pc:docMk/>
          <pc:sldMasterMk cId="1686638446" sldId="2147483940"/>
        </pc:sldMasterMkLst>
        <pc:sldLayoutChg chg="del">
          <pc:chgData name="Nicole Welch" userId="4bbf8b27-f36f-4029-b936-1f4b065af9e0" providerId="ADAL" clId="{ECA9C3CA-5503-447D-9886-71BEF1A6310E}" dt="2019-10-16T16:45:02.255" v="506" actId="47"/>
          <pc:sldLayoutMkLst>
            <pc:docMk/>
            <pc:sldMasterMk cId="1686638446" sldId="2147483940"/>
            <pc:sldLayoutMk cId="4287615868" sldId="2147483957"/>
          </pc:sldLayoutMkLst>
        </pc:sldLayoutChg>
      </pc:sldMasterChg>
      <pc:sldMasterChg chg="addSp modTransition modSldLayout">
        <pc:chgData name="Nicole Welch" userId="4bbf8b27-f36f-4029-b936-1f4b065af9e0" providerId="ADAL" clId="{ECA9C3CA-5503-447D-9886-71BEF1A6310E}" dt="2019-10-16T16:58:50.293" v="622"/>
        <pc:sldMasterMkLst>
          <pc:docMk/>
          <pc:sldMasterMk cId="3604275327" sldId="2147483985"/>
        </pc:sldMasterMkLst>
        <pc:spChg chg="add">
          <ac:chgData name="Nicole Welch" userId="4bbf8b27-f36f-4029-b936-1f4b065af9e0" providerId="ADAL" clId="{ECA9C3CA-5503-447D-9886-71BEF1A6310E}" dt="2019-10-16T16:58:50.293" v="622"/>
          <ac:spMkLst>
            <pc:docMk/>
            <pc:sldMasterMk cId="3604275327" sldId="2147483985"/>
            <ac:spMk id="8" creationId="{9F51D6D1-8B0C-42D1-AAF0-25388B2C5489}"/>
          </ac:spMkLst>
        </pc:spChg>
        <pc:spChg chg="add">
          <ac:chgData name="Nicole Welch" userId="4bbf8b27-f36f-4029-b936-1f4b065af9e0" providerId="ADAL" clId="{ECA9C3CA-5503-447D-9886-71BEF1A6310E}" dt="2019-10-16T16:58:50.293" v="622"/>
          <ac:spMkLst>
            <pc:docMk/>
            <pc:sldMasterMk cId="3604275327" sldId="2147483985"/>
            <ac:spMk id="9" creationId="{900069E8-2273-4916-A605-8B22C65FEDA2}"/>
          </ac:spMkLst>
        </pc:spChg>
        <pc:spChg chg="add">
          <ac:chgData name="Nicole Welch" userId="4bbf8b27-f36f-4029-b936-1f4b065af9e0" providerId="ADAL" clId="{ECA9C3CA-5503-447D-9886-71BEF1A6310E}" dt="2019-10-16T16:58:50.293" v="622"/>
          <ac:spMkLst>
            <pc:docMk/>
            <pc:sldMasterMk cId="3604275327" sldId="2147483985"/>
            <ac:spMk id="45" creationId="{2514BADC-1CF1-4728-95C2-A512F706BC87}"/>
          </ac:spMkLst>
        </pc:spChg>
        <pc:spChg chg="add">
          <ac:chgData name="Nicole Welch" userId="4bbf8b27-f36f-4029-b936-1f4b065af9e0" providerId="ADAL" clId="{ECA9C3CA-5503-447D-9886-71BEF1A6310E}" dt="2019-10-16T16:58:50.293" v="622"/>
          <ac:spMkLst>
            <pc:docMk/>
            <pc:sldMasterMk cId="3604275327" sldId="2147483985"/>
            <ac:spMk id="46" creationId="{D5C716A4-FCC3-4C1D-A562-98A3B7136DD7}"/>
          </ac:spMkLst>
        </pc:spChg>
        <pc:grpChg chg="add">
          <ac:chgData name="Nicole Welch" userId="4bbf8b27-f36f-4029-b936-1f4b065af9e0" providerId="ADAL" clId="{ECA9C3CA-5503-447D-9886-71BEF1A6310E}" dt="2019-10-16T16:58:50.293" v="622"/>
          <ac:grpSpMkLst>
            <pc:docMk/>
            <pc:sldMasterMk cId="3604275327" sldId="2147483985"/>
            <ac:grpSpMk id="10" creationId="{032A5E92-161D-4775-878A-BEC4FB2CD172}"/>
          </ac:grpSpMkLst>
        </pc:grpChg>
        <pc:sldLayoutChg chg="modTransition">
          <pc:chgData name="Nicole Welch" userId="4bbf8b27-f36f-4029-b936-1f4b065af9e0" providerId="ADAL" clId="{ECA9C3CA-5503-447D-9886-71BEF1A6310E}" dt="2019-10-16T16:58:50.293" v="622"/>
          <pc:sldLayoutMkLst>
            <pc:docMk/>
            <pc:sldMasterMk cId="3604275327" sldId="2147483985"/>
            <pc:sldLayoutMk cId="494276232" sldId="2147483991"/>
          </pc:sldLayoutMkLst>
        </pc:sldLayoutChg>
        <pc:sldLayoutChg chg="modTransition">
          <pc:chgData name="Nicole Welch" userId="4bbf8b27-f36f-4029-b936-1f4b065af9e0" providerId="ADAL" clId="{ECA9C3CA-5503-447D-9886-71BEF1A6310E}" dt="2019-10-16T16:58:50.293" v="622"/>
          <pc:sldLayoutMkLst>
            <pc:docMk/>
            <pc:sldMasterMk cId="3604275327" sldId="2147483985"/>
            <pc:sldLayoutMk cId="59666674" sldId="2147483992"/>
          </pc:sldLayoutMkLst>
        </pc:sldLayoutChg>
      </pc:sldMasterChg>
      <pc:sldMasterChg chg="addSp modTransition delSldLayout modSldLayout">
        <pc:chgData name="Nicole Welch" userId="4bbf8b27-f36f-4029-b936-1f4b065af9e0" providerId="ADAL" clId="{ECA9C3CA-5503-447D-9886-71BEF1A6310E}" dt="2019-10-16T19:55:47.029" v="2481" actId="47"/>
        <pc:sldMasterMkLst>
          <pc:docMk/>
          <pc:sldMasterMk cId="2103179724" sldId="2147483997"/>
        </pc:sldMasterMkLst>
        <pc:spChg chg="add">
          <ac:chgData name="Nicole Welch" userId="4bbf8b27-f36f-4029-b936-1f4b065af9e0" providerId="ADAL" clId="{ECA9C3CA-5503-447D-9886-71BEF1A6310E}" dt="2019-10-16T16:58:56.733" v="623"/>
          <ac:spMkLst>
            <pc:docMk/>
            <pc:sldMasterMk cId="2103179724" sldId="2147483997"/>
            <ac:spMk id="43" creationId="{5A79C1EA-45AD-4C9C-B670-457DDDA55AAE}"/>
          </ac:spMkLst>
        </pc:spChg>
        <pc:spChg chg="add">
          <ac:chgData name="Nicole Welch" userId="4bbf8b27-f36f-4029-b936-1f4b065af9e0" providerId="ADAL" clId="{ECA9C3CA-5503-447D-9886-71BEF1A6310E}" dt="2019-10-16T16:58:56.733" v="623"/>
          <ac:spMkLst>
            <pc:docMk/>
            <pc:sldMasterMk cId="2103179724" sldId="2147483997"/>
            <ac:spMk id="44" creationId="{051295A5-8913-462D-8E95-9E29D98F203D}"/>
          </ac:spMkLst>
        </pc:spChg>
        <pc:grpChg chg="add">
          <ac:chgData name="Nicole Welch" userId="4bbf8b27-f36f-4029-b936-1f4b065af9e0" providerId="ADAL" clId="{ECA9C3CA-5503-447D-9886-71BEF1A6310E}" dt="2019-10-16T16:58:56.733" v="623"/>
          <ac:grpSpMkLst>
            <pc:docMk/>
            <pc:sldMasterMk cId="2103179724" sldId="2147483997"/>
            <ac:grpSpMk id="8" creationId="{A8CA0856-2337-4FFE-B4B6-FAE10D7D0E1F}"/>
          </ac:grpSpMkLst>
        </pc:grpChg>
        <pc:sldLayoutChg chg="modTransition">
          <pc:chgData name="Nicole Welch" userId="4bbf8b27-f36f-4029-b936-1f4b065af9e0" providerId="ADAL" clId="{ECA9C3CA-5503-447D-9886-71BEF1A6310E}" dt="2019-10-16T16:58:56.733" v="623"/>
          <pc:sldLayoutMkLst>
            <pc:docMk/>
            <pc:sldMasterMk cId="2103179724" sldId="2147483997"/>
            <pc:sldLayoutMk cId="2007393247" sldId="2147484003"/>
          </pc:sldLayoutMkLst>
        </pc:sldLayoutChg>
        <pc:sldLayoutChg chg="modTransition">
          <pc:chgData name="Nicole Welch" userId="4bbf8b27-f36f-4029-b936-1f4b065af9e0" providerId="ADAL" clId="{ECA9C3CA-5503-447D-9886-71BEF1A6310E}" dt="2019-10-16T16:58:56.733" v="623"/>
          <pc:sldLayoutMkLst>
            <pc:docMk/>
            <pc:sldMasterMk cId="2103179724" sldId="2147483997"/>
            <pc:sldLayoutMk cId="3336237780" sldId="2147484004"/>
          </pc:sldLayoutMkLst>
        </pc:sldLayoutChg>
        <pc:sldLayoutChg chg="del">
          <pc:chgData name="Nicole Welch" userId="4bbf8b27-f36f-4029-b936-1f4b065af9e0" providerId="ADAL" clId="{ECA9C3CA-5503-447D-9886-71BEF1A6310E}" dt="2019-10-16T17:23:42.002" v="797" actId="47"/>
          <pc:sldLayoutMkLst>
            <pc:docMk/>
            <pc:sldMasterMk cId="2103179724" sldId="2147483997"/>
            <pc:sldLayoutMk cId="2967449466" sldId="2147484014"/>
          </pc:sldLayoutMkLst>
        </pc:sldLayoutChg>
        <pc:sldLayoutChg chg="del">
          <pc:chgData name="Nicole Welch" userId="4bbf8b27-f36f-4029-b936-1f4b065af9e0" providerId="ADAL" clId="{ECA9C3CA-5503-447D-9886-71BEF1A6310E}" dt="2019-10-16T17:32:56.618" v="893" actId="47"/>
          <pc:sldLayoutMkLst>
            <pc:docMk/>
            <pc:sldMasterMk cId="2103179724" sldId="2147483997"/>
            <pc:sldLayoutMk cId="2746976800" sldId="2147484017"/>
          </pc:sldLayoutMkLst>
        </pc:sldLayoutChg>
        <pc:sldLayoutChg chg="del">
          <pc:chgData name="Nicole Welch" userId="4bbf8b27-f36f-4029-b936-1f4b065af9e0" providerId="ADAL" clId="{ECA9C3CA-5503-447D-9886-71BEF1A6310E}" dt="2019-10-16T17:44:34.192" v="1204" actId="47"/>
          <pc:sldLayoutMkLst>
            <pc:docMk/>
            <pc:sldMasterMk cId="2103179724" sldId="2147483997"/>
            <pc:sldLayoutMk cId="216111093" sldId="2147484020"/>
          </pc:sldLayoutMkLst>
        </pc:sldLayoutChg>
        <pc:sldLayoutChg chg="del">
          <pc:chgData name="Nicole Welch" userId="4bbf8b27-f36f-4029-b936-1f4b065af9e0" providerId="ADAL" clId="{ECA9C3CA-5503-447D-9886-71BEF1A6310E}" dt="2019-10-16T17:59:49.948" v="1686" actId="47"/>
          <pc:sldLayoutMkLst>
            <pc:docMk/>
            <pc:sldMasterMk cId="2103179724" sldId="2147483997"/>
            <pc:sldLayoutMk cId="575634629" sldId="2147484025"/>
          </pc:sldLayoutMkLst>
        </pc:sldLayoutChg>
        <pc:sldLayoutChg chg="del">
          <pc:chgData name="Nicole Welch" userId="4bbf8b27-f36f-4029-b936-1f4b065af9e0" providerId="ADAL" clId="{ECA9C3CA-5503-447D-9886-71BEF1A6310E}" dt="2019-10-16T17:59:55.884" v="1687" actId="47"/>
          <pc:sldLayoutMkLst>
            <pc:docMk/>
            <pc:sldMasterMk cId="2103179724" sldId="2147483997"/>
            <pc:sldLayoutMk cId="2297491415" sldId="2147484026"/>
          </pc:sldLayoutMkLst>
        </pc:sldLayoutChg>
        <pc:sldLayoutChg chg="setBg">
          <pc:chgData name="Nicole Welch" userId="4bbf8b27-f36f-4029-b936-1f4b065af9e0" providerId="ADAL" clId="{ECA9C3CA-5503-447D-9886-71BEF1A6310E}" dt="2019-10-16T17:24:47.526" v="808"/>
          <pc:sldLayoutMkLst>
            <pc:docMk/>
            <pc:sldMasterMk cId="2103179724" sldId="2147483997"/>
            <pc:sldLayoutMk cId="2262926950" sldId="2147484032"/>
          </pc:sldLayoutMkLst>
        </pc:sldLayoutChg>
        <pc:sldLayoutChg chg="del">
          <pc:chgData name="Nicole Welch" userId="4bbf8b27-f36f-4029-b936-1f4b065af9e0" providerId="ADAL" clId="{ECA9C3CA-5503-447D-9886-71BEF1A6310E}" dt="2019-10-16T19:55:47.029" v="2481" actId="47"/>
          <pc:sldLayoutMkLst>
            <pc:docMk/>
            <pc:sldMasterMk cId="2103179724" sldId="2147483997"/>
            <pc:sldLayoutMk cId="4237232720" sldId="2147484034"/>
          </pc:sldLayoutMkLst>
        </pc:sldLayoutChg>
      </pc:sldMasterChg>
    </pc:docChg>
  </pc:docChgLst>
  <pc:docChgLst>
    <pc:chgData name="Nicole Welch" userId="4bbf8b27-f36f-4029-b936-1f4b065af9e0" providerId="ADAL" clId="{BE3C291B-2B87-4F6F-BC1A-546BDA1E2D28}"/>
    <pc:docChg chg="undo custSel addSld delSld modSld sldOrd modSection">
      <pc:chgData name="Nicole Welch" userId="4bbf8b27-f36f-4029-b936-1f4b065af9e0" providerId="ADAL" clId="{BE3C291B-2B87-4F6F-BC1A-546BDA1E2D28}" dt="2019-10-23T18:54:54.597" v="502" actId="20577"/>
      <pc:docMkLst>
        <pc:docMk/>
      </pc:docMkLst>
      <pc:sldChg chg="modSp">
        <pc:chgData name="Nicole Welch" userId="4bbf8b27-f36f-4029-b936-1f4b065af9e0" providerId="ADAL" clId="{BE3C291B-2B87-4F6F-BC1A-546BDA1E2D28}" dt="2019-10-23T15:06:57.273" v="428" actId="20577"/>
        <pc:sldMkLst>
          <pc:docMk/>
          <pc:sldMk cId="3677681145" sldId="265"/>
        </pc:sldMkLst>
        <pc:graphicFrameChg chg="mod">
          <ac:chgData name="Nicole Welch" userId="4bbf8b27-f36f-4029-b936-1f4b065af9e0" providerId="ADAL" clId="{BE3C291B-2B87-4F6F-BC1A-546BDA1E2D28}" dt="2019-10-23T15:06:57.273" v="428" actId="20577"/>
          <ac:graphicFrameMkLst>
            <pc:docMk/>
            <pc:sldMk cId="3677681145" sldId="265"/>
            <ac:graphicFrameMk id="5" creationId="{33B41416-1419-422F-8F24-BEAFC221DC63}"/>
          </ac:graphicFrameMkLst>
        </pc:graphicFrameChg>
      </pc:sldChg>
      <pc:sldChg chg="modSp">
        <pc:chgData name="Nicole Welch" userId="4bbf8b27-f36f-4029-b936-1f4b065af9e0" providerId="ADAL" clId="{BE3C291B-2B87-4F6F-BC1A-546BDA1E2D28}" dt="2019-10-17T19:33:03.238" v="303" actId="207"/>
        <pc:sldMkLst>
          <pc:docMk/>
          <pc:sldMk cId="2985580442" sldId="302"/>
        </pc:sldMkLst>
        <pc:spChg chg="mod">
          <ac:chgData name="Nicole Welch" userId="4bbf8b27-f36f-4029-b936-1f4b065af9e0" providerId="ADAL" clId="{BE3C291B-2B87-4F6F-BC1A-546BDA1E2D28}" dt="2019-10-17T19:33:03.238" v="303" actId="207"/>
          <ac:spMkLst>
            <pc:docMk/>
            <pc:sldMk cId="2985580442" sldId="302"/>
            <ac:spMk id="5" creationId="{00000000-0000-0000-0000-000000000000}"/>
          </ac:spMkLst>
        </pc:spChg>
        <pc:spChg chg="mod">
          <ac:chgData name="Nicole Welch" userId="4bbf8b27-f36f-4029-b936-1f4b065af9e0" providerId="ADAL" clId="{BE3C291B-2B87-4F6F-BC1A-546BDA1E2D28}" dt="2019-10-17T19:32:52.671" v="301" actId="1036"/>
          <ac:spMkLst>
            <pc:docMk/>
            <pc:sldMk cId="2985580442" sldId="302"/>
            <ac:spMk id="6" creationId="{00000000-0000-0000-0000-000000000000}"/>
          </ac:spMkLst>
        </pc:spChg>
        <pc:spChg chg="mod">
          <ac:chgData name="Nicole Welch" userId="4bbf8b27-f36f-4029-b936-1f4b065af9e0" providerId="ADAL" clId="{BE3C291B-2B87-4F6F-BC1A-546BDA1E2D28}" dt="2019-10-17T19:32:52.671" v="301" actId="1036"/>
          <ac:spMkLst>
            <pc:docMk/>
            <pc:sldMk cId="2985580442" sldId="302"/>
            <ac:spMk id="13" creationId="{7F33D16B-859C-4345-9940-9327511DFF8D}"/>
          </ac:spMkLst>
        </pc:spChg>
        <pc:grpChg chg="mod">
          <ac:chgData name="Nicole Welch" userId="4bbf8b27-f36f-4029-b936-1f4b065af9e0" providerId="ADAL" clId="{BE3C291B-2B87-4F6F-BC1A-546BDA1E2D28}" dt="2019-10-17T19:32:52.671" v="301" actId="1036"/>
          <ac:grpSpMkLst>
            <pc:docMk/>
            <pc:sldMk cId="2985580442" sldId="302"/>
            <ac:grpSpMk id="2" creationId="{5F69D0A0-555D-4B73-BF5F-C69D3CCCB09D}"/>
          </ac:grpSpMkLst>
        </pc:grpChg>
        <pc:grpChg chg="mod">
          <ac:chgData name="Nicole Welch" userId="4bbf8b27-f36f-4029-b936-1f4b065af9e0" providerId="ADAL" clId="{BE3C291B-2B87-4F6F-BC1A-546BDA1E2D28}" dt="2019-10-17T19:32:52.671" v="301" actId="1036"/>
          <ac:grpSpMkLst>
            <pc:docMk/>
            <pc:sldMk cId="2985580442" sldId="302"/>
            <ac:grpSpMk id="4" creationId="{E3C8EDF5-A8AC-4239-9F5D-D8A5900E1659}"/>
          </ac:grpSpMkLst>
        </pc:grpChg>
      </pc:sldChg>
      <pc:sldChg chg="delSp modSp delAnim">
        <pc:chgData name="Nicole Welch" userId="4bbf8b27-f36f-4029-b936-1f4b065af9e0" providerId="ADAL" clId="{BE3C291B-2B87-4F6F-BC1A-546BDA1E2D28}" dt="2019-10-17T14:44:25.646" v="213" actId="403"/>
        <pc:sldMkLst>
          <pc:docMk/>
          <pc:sldMk cId="1828756989" sldId="409"/>
        </pc:sldMkLst>
        <pc:spChg chg="mod">
          <ac:chgData name="Nicole Welch" userId="4bbf8b27-f36f-4029-b936-1f4b065af9e0" providerId="ADAL" clId="{BE3C291B-2B87-4F6F-BC1A-546BDA1E2D28}" dt="2019-10-17T14:44:25.646" v="213" actId="403"/>
          <ac:spMkLst>
            <pc:docMk/>
            <pc:sldMk cId="1828756989" sldId="409"/>
            <ac:spMk id="8" creationId="{E80F2AE8-7C7B-47E6-A7F0-B454370F7A18}"/>
          </ac:spMkLst>
        </pc:spChg>
        <pc:spChg chg="mod">
          <ac:chgData name="Nicole Welch" userId="4bbf8b27-f36f-4029-b936-1f4b065af9e0" providerId="ADAL" clId="{BE3C291B-2B87-4F6F-BC1A-546BDA1E2D28}" dt="2019-10-17T14:44:25.646" v="213" actId="403"/>
          <ac:spMkLst>
            <pc:docMk/>
            <pc:sldMk cId="1828756989" sldId="409"/>
            <ac:spMk id="11" creationId="{13715051-585E-47E7-BBC6-5BCC84CFC5CD}"/>
          </ac:spMkLst>
        </pc:spChg>
        <pc:spChg chg="mod">
          <ac:chgData name="Nicole Welch" userId="4bbf8b27-f36f-4029-b936-1f4b065af9e0" providerId="ADAL" clId="{BE3C291B-2B87-4F6F-BC1A-546BDA1E2D28}" dt="2019-10-17T14:44:25.646" v="213" actId="403"/>
          <ac:spMkLst>
            <pc:docMk/>
            <pc:sldMk cId="1828756989" sldId="409"/>
            <ac:spMk id="14" creationId="{0C7AC3DF-D537-42D0-A403-DE4AF1E2DB49}"/>
          </ac:spMkLst>
        </pc:spChg>
        <pc:spChg chg="mod">
          <ac:chgData name="Nicole Welch" userId="4bbf8b27-f36f-4029-b936-1f4b065af9e0" providerId="ADAL" clId="{BE3C291B-2B87-4F6F-BC1A-546BDA1E2D28}" dt="2019-10-17T14:44:25.646" v="213" actId="403"/>
          <ac:spMkLst>
            <pc:docMk/>
            <pc:sldMk cId="1828756989" sldId="409"/>
            <ac:spMk id="17" creationId="{9F508E97-C145-4D83-8265-443397584AD4}"/>
          </ac:spMkLst>
        </pc:spChg>
        <pc:spChg chg="mod">
          <ac:chgData name="Nicole Welch" userId="4bbf8b27-f36f-4029-b936-1f4b065af9e0" providerId="ADAL" clId="{BE3C291B-2B87-4F6F-BC1A-546BDA1E2D28}" dt="2019-10-17T14:44:25.646" v="213" actId="403"/>
          <ac:spMkLst>
            <pc:docMk/>
            <pc:sldMk cId="1828756989" sldId="409"/>
            <ac:spMk id="20" creationId="{0F693C76-D2B0-4092-9AE8-BFEA5F7FEE06}"/>
          </ac:spMkLst>
        </pc:spChg>
        <pc:spChg chg="mod">
          <ac:chgData name="Nicole Welch" userId="4bbf8b27-f36f-4029-b936-1f4b065af9e0" providerId="ADAL" clId="{BE3C291B-2B87-4F6F-BC1A-546BDA1E2D28}" dt="2019-10-17T14:44:25.646" v="213" actId="403"/>
          <ac:spMkLst>
            <pc:docMk/>
            <pc:sldMk cId="1828756989" sldId="409"/>
            <ac:spMk id="23" creationId="{E2C68247-F9C9-49B5-BB26-EC2F0CA911CA}"/>
          </ac:spMkLst>
        </pc:spChg>
        <pc:grpChg chg="mod">
          <ac:chgData name="Nicole Welch" userId="4bbf8b27-f36f-4029-b936-1f4b065af9e0" providerId="ADAL" clId="{BE3C291B-2B87-4F6F-BC1A-546BDA1E2D28}" dt="2019-10-17T14:44:21.680" v="211" actId="207"/>
          <ac:grpSpMkLst>
            <pc:docMk/>
            <pc:sldMk cId="1828756989" sldId="409"/>
            <ac:grpSpMk id="2" creationId="{A1BBF12D-1F29-4027-B80F-5986ABB0660C}"/>
          </ac:grpSpMkLst>
        </pc:grpChg>
        <pc:grpChg chg="del">
          <ac:chgData name="Nicole Welch" userId="4bbf8b27-f36f-4029-b936-1f4b065af9e0" providerId="ADAL" clId="{BE3C291B-2B87-4F6F-BC1A-546BDA1E2D28}" dt="2019-10-17T14:44:16.153" v="210" actId="478"/>
          <ac:grpSpMkLst>
            <pc:docMk/>
            <pc:sldMk cId="1828756989" sldId="409"/>
            <ac:grpSpMk id="25" creationId="{94667865-63B2-461E-A5F6-EFDA61D61304}"/>
          </ac:grpSpMkLst>
        </pc:grpChg>
      </pc:sldChg>
      <pc:sldChg chg="modSp">
        <pc:chgData name="Nicole Welch" userId="4bbf8b27-f36f-4029-b936-1f4b065af9e0" providerId="ADAL" clId="{BE3C291B-2B87-4F6F-BC1A-546BDA1E2D28}" dt="2019-10-17T14:34:20.792" v="113" actId="207"/>
        <pc:sldMkLst>
          <pc:docMk/>
          <pc:sldMk cId="98182412" sldId="648"/>
        </pc:sldMkLst>
        <pc:spChg chg="mod">
          <ac:chgData name="Nicole Welch" userId="4bbf8b27-f36f-4029-b936-1f4b065af9e0" providerId="ADAL" clId="{BE3C291B-2B87-4F6F-BC1A-546BDA1E2D28}" dt="2019-10-17T14:33:02.262" v="105" actId="207"/>
          <ac:spMkLst>
            <pc:docMk/>
            <pc:sldMk cId="98182412" sldId="648"/>
            <ac:spMk id="27" creationId="{00000000-0000-0000-0000-000000000000}"/>
          </ac:spMkLst>
        </pc:spChg>
        <pc:spChg chg="mod">
          <ac:chgData name="Nicole Welch" userId="4bbf8b27-f36f-4029-b936-1f4b065af9e0" providerId="ADAL" clId="{BE3C291B-2B87-4F6F-BC1A-546BDA1E2D28}" dt="2019-10-17T14:33:51.995" v="110" actId="20577"/>
          <ac:spMkLst>
            <pc:docMk/>
            <pc:sldMk cId="98182412" sldId="648"/>
            <ac:spMk id="31" creationId="{706E392C-4E9B-4C17-A8DA-64197406AC1C}"/>
          </ac:spMkLst>
        </pc:spChg>
        <pc:spChg chg="mod">
          <ac:chgData name="Nicole Welch" userId="4bbf8b27-f36f-4029-b936-1f4b065af9e0" providerId="ADAL" clId="{BE3C291B-2B87-4F6F-BC1A-546BDA1E2D28}" dt="2019-10-17T14:32:38.583" v="103" actId="207"/>
          <ac:spMkLst>
            <pc:docMk/>
            <pc:sldMk cId="98182412" sldId="648"/>
            <ac:spMk id="32" creationId="{00000000-0000-0000-0000-000000000000}"/>
          </ac:spMkLst>
        </pc:spChg>
        <pc:spChg chg="mod">
          <ac:chgData name="Nicole Welch" userId="4bbf8b27-f36f-4029-b936-1f4b065af9e0" providerId="ADAL" clId="{BE3C291B-2B87-4F6F-BC1A-546BDA1E2D28}" dt="2019-10-17T14:32:49.483" v="104" actId="207"/>
          <ac:spMkLst>
            <pc:docMk/>
            <pc:sldMk cId="98182412" sldId="648"/>
            <ac:spMk id="33" creationId="{00000000-0000-0000-0000-000000000000}"/>
          </ac:spMkLst>
        </pc:spChg>
        <pc:spChg chg="mod ord">
          <ac:chgData name="Nicole Welch" userId="4bbf8b27-f36f-4029-b936-1f4b065af9e0" providerId="ADAL" clId="{BE3C291B-2B87-4F6F-BC1A-546BDA1E2D28}" dt="2019-10-17T14:33:13.441" v="106" actId="167"/>
          <ac:spMkLst>
            <pc:docMk/>
            <pc:sldMk cId="98182412" sldId="648"/>
            <ac:spMk id="35" creationId="{00000000-0000-0000-0000-000000000000}"/>
          </ac:spMkLst>
        </pc:spChg>
        <pc:graphicFrameChg chg="mod">
          <ac:chgData name="Nicole Welch" userId="4bbf8b27-f36f-4029-b936-1f4b065af9e0" providerId="ADAL" clId="{BE3C291B-2B87-4F6F-BC1A-546BDA1E2D28}" dt="2019-10-17T14:34:20.792" v="113" actId="207"/>
          <ac:graphicFrameMkLst>
            <pc:docMk/>
            <pc:sldMk cId="98182412" sldId="648"/>
            <ac:graphicFrameMk id="61" creationId="{00000000-0000-0000-0000-000000000000}"/>
          </ac:graphicFrameMkLst>
        </pc:graphicFrameChg>
      </pc:sldChg>
      <pc:sldChg chg="modSp">
        <pc:chgData name="Nicole Welch" userId="4bbf8b27-f36f-4029-b936-1f4b065af9e0" providerId="ADAL" clId="{BE3C291B-2B87-4F6F-BC1A-546BDA1E2D28}" dt="2019-10-17T14:35:08.399" v="121" actId="20577"/>
        <pc:sldMkLst>
          <pc:docMk/>
          <pc:sldMk cId="317433810" sldId="1566"/>
        </pc:sldMkLst>
        <pc:spChg chg="mod">
          <ac:chgData name="Nicole Welch" userId="4bbf8b27-f36f-4029-b936-1f4b065af9e0" providerId="ADAL" clId="{BE3C291B-2B87-4F6F-BC1A-546BDA1E2D28}" dt="2019-10-17T14:35:08.399" v="121" actId="20577"/>
          <ac:spMkLst>
            <pc:docMk/>
            <pc:sldMk cId="317433810" sldId="1566"/>
            <ac:spMk id="2" creationId="{00000000-0000-0000-0000-000000000000}"/>
          </ac:spMkLst>
        </pc:spChg>
      </pc:sldChg>
      <pc:sldChg chg="modSp del">
        <pc:chgData name="Nicole Welch" userId="4bbf8b27-f36f-4029-b936-1f4b065af9e0" providerId="ADAL" clId="{BE3C291B-2B87-4F6F-BC1A-546BDA1E2D28}" dt="2019-10-17T14:44:12.204" v="209" actId="47"/>
        <pc:sldMkLst>
          <pc:docMk/>
          <pc:sldMk cId="4051544980" sldId="1727"/>
        </pc:sldMkLst>
        <pc:spChg chg="mod">
          <ac:chgData name="Nicole Welch" userId="4bbf8b27-f36f-4029-b936-1f4b065af9e0" providerId="ADAL" clId="{BE3C291B-2B87-4F6F-BC1A-546BDA1E2D28}" dt="2019-10-17T14:44:00.333" v="208" actId="207"/>
          <ac:spMkLst>
            <pc:docMk/>
            <pc:sldMk cId="4051544980" sldId="1727"/>
            <ac:spMk id="3" creationId="{00000000-0000-0000-0000-000000000000}"/>
          </ac:spMkLst>
        </pc:spChg>
      </pc:sldChg>
      <pc:sldChg chg="modSp">
        <pc:chgData name="Nicole Welch" userId="4bbf8b27-f36f-4029-b936-1f4b065af9e0" providerId="ADAL" clId="{BE3C291B-2B87-4F6F-BC1A-546BDA1E2D28}" dt="2019-10-17T19:37:34.925" v="350" actId="6549"/>
        <pc:sldMkLst>
          <pc:docMk/>
          <pc:sldMk cId="3374772378" sldId="1882"/>
        </pc:sldMkLst>
        <pc:spChg chg="mod">
          <ac:chgData name="Nicole Welch" userId="4bbf8b27-f36f-4029-b936-1f4b065af9e0" providerId="ADAL" clId="{BE3C291B-2B87-4F6F-BC1A-546BDA1E2D28}" dt="2019-10-17T19:37:17.376" v="349" actId="20577"/>
          <ac:spMkLst>
            <pc:docMk/>
            <pc:sldMk cId="3374772378" sldId="1882"/>
            <ac:spMk id="11" creationId="{B0A446E4-CB8D-4EEF-8F85-79117312FA10}"/>
          </ac:spMkLst>
        </pc:spChg>
        <pc:spChg chg="mod">
          <ac:chgData name="Nicole Welch" userId="4bbf8b27-f36f-4029-b936-1f4b065af9e0" providerId="ADAL" clId="{BE3C291B-2B87-4F6F-BC1A-546BDA1E2D28}" dt="2019-10-17T19:37:34.925" v="350" actId="6549"/>
          <ac:spMkLst>
            <pc:docMk/>
            <pc:sldMk cId="3374772378" sldId="1882"/>
            <ac:spMk id="12" creationId="{CD7DEBED-22A7-4E05-A424-37C2FAAD36DB}"/>
          </ac:spMkLst>
        </pc:spChg>
      </pc:sldChg>
      <pc:sldChg chg="del">
        <pc:chgData name="Nicole Welch" userId="4bbf8b27-f36f-4029-b936-1f4b065af9e0" providerId="ADAL" clId="{BE3C291B-2B87-4F6F-BC1A-546BDA1E2D28}" dt="2019-10-17T14:44:41.539" v="214" actId="47"/>
        <pc:sldMkLst>
          <pc:docMk/>
          <pc:sldMk cId="4173527431" sldId="3716"/>
        </pc:sldMkLst>
      </pc:sldChg>
      <pc:sldChg chg="modSp">
        <pc:chgData name="Nicole Welch" userId="4bbf8b27-f36f-4029-b936-1f4b065af9e0" providerId="ADAL" clId="{BE3C291B-2B87-4F6F-BC1A-546BDA1E2D28}" dt="2019-10-18T15:25:33.127" v="403" actId="207"/>
        <pc:sldMkLst>
          <pc:docMk/>
          <pc:sldMk cId="2817677324" sldId="3719"/>
        </pc:sldMkLst>
        <pc:spChg chg="mod">
          <ac:chgData name="Nicole Welch" userId="4bbf8b27-f36f-4029-b936-1f4b065af9e0" providerId="ADAL" clId="{BE3C291B-2B87-4F6F-BC1A-546BDA1E2D28}" dt="2019-10-18T15:25:27.342" v="402" actId="20577"/>
          <ac:spMkLst>
            <pc:docMk/>
            <pc:sldMk cId="2817677324" sldId="3719"/>
            <ac:spMk id="2" creationId="{24BC96E2-C5A3-42DC-A075-5E873B08A081}"/>
          </ac:spMkLst>
        </pc:spChg>
        <pc:spChg chg="mod">
          <ac:chgData name="Nicole Welch" userId="4bbf8b27-f36f-4029-b936-1f4b065af9e0" providerId="ADAL" clId="{BE3C291B-2B87-4F6F-BC1A-546BDA1E2D28}" dt="2019-10-18T15:25:33.127" v="403" actId="207"/>
          <ac:spMkLst>
            <pc:docMk/>
            <pc:sldMk cId="2817677324" sldId="3719"/>
            <ac:spMk id="25" creationId="{D11B75EA-8673-467B-871D-217B9E0C344E}"/>
          </ac:spMkLst>
        </pc:spChg>
        <pc:grpChg chg="mod">
          <ac:chgData name="Nicole Welch" userId="4bbf8b27-f36f-4029-b936-1f4b065af9e0" providerId="ADAL" clId="{BE3C291B-2B87-4F6F-BC1A-546BDA1E2D28}" dt="2019-10-18T15:25:23.423" v="401" actId="1035"/>
          <ac:grpSpMkLst>
            <pc:docMk/>
            <pc:sldMk cId="2817677324" sldId="3719"/>
            <ac:grpSpMk id="18" creationId="{3FE09A00-9CF3-4C21-A584-B7F0C965165C}"/>
          </ac:grpSpMkLst>
        </pc:grpChg>
      </pc:sldChg>
      <pc:sldChg chg="modSp">
        <pc:chgData name="Nicole Welch" userId="4bbf8b27-f36f-4029-b936-1f4b065af9e0" providerId="ADAL" clId="{BE3C291B-2B87-4F6F-BC1A-546BDA1E2D28}" dt="2019-10-17T14:36:15.650" v="170" actId="14100"/>
        <pc:sldMkLst>
          <pc:docMk/>
          <pc:sldMk cId="4138591048" sldId="4479"/>
        </pc:sldMkLst>
        <pc:spChg chg="mod">
          <ac:chgData name="Nicole Welch" userId="4bbf8b27-f36f-4029-b936-1f4b065af9e0" providerId="ADAL" clId="{BE3C291B-2B87-4F6F-BC1A-546BDA1E2D28}" dt="2019-10-17T14:28:17.447" v="93" actId="14100"/>
          <ac:spMkLst>
            <pc:docMk/>
            <pc:sldMk cId="4138591048" sldId="4479"/>
            <ac:spMk id="10" creationId="{22855FC9-0CCF-4381-97B7-0DC97AEA9D24}"/>
          </ac:spMkLst>
        </pc:spChg>
        <pc:spChg chg="mod">
          <ac:chgData name="Nicole Welch" userId="4bbf8b27-f36f-4029-b936-1f4b065af9e0" providerId="ADAL" clId="{BE3C291B-2B87-4F6F-BC1A-546BDA1E2D28}" dt="2019-10-17T14:35:56.275" v="155" actId="20577"/>
          <ac:spMkLst>
            <pc:docMk/>
            <pc:sldMk cId="4138591048" sldId="4479"/>
            <ac:spMk id="134" creationId="{8E1F4DC8-AB65-4B88-B97D-FCABEA6AC582}"/>
          </ac:spMkLst>
        </pc:spChg>
        <pc:cxnChg chg="mod">
          <ac:chgData name="Nicole Welch" userId="4bbf8b27-f36f-4029-b936-1f4b065af9e0" providerId="ADAL" clId="{BE3C291B-2B87-4F6F-BC1A-546BDA1E2D28}" dt="2019-10-17T14:36:15.650" v="170" actId="14100"/>
          <ac:cxnSpMkLst>
            <pc:docMk/>
            <pc:sldMk cId="4138591048" sldId="4479"/>
            <ac:cxnSpMk id="81" creationId="{D17798A0-23BE-42B3-B37B-22CA71E346E4}"/>
          </ac:cxnSpMkLst>
        </pc:cxnChg>
      </pc:sldChg>
      <pc:sldChg chg="modSp">
        <pc:chgData name="Nicole Welch" userId="4bbf8b27-f36f-4029-b936-1f4b065af9e0" providerId="ADAL" clId="{BE3C291B-2B87-4F6F-BC1A-546BDA1E2D28}" dt="2019-10-17T14:46:35.319" v="231" actId="207"/>
        <pc:sldMkLst>
          <pc:docMk/>
          <pc:sldMk cId="2162432968" sldId="4500"/>
        </pc:sldMkLst>
        <pc:spChg chg="mod">
          <ac:chgData name="Nicole Welch" userId="4bbf8b27-f36f-4029-b936-1f4b065af9e0" providerId="ADAL" clId="{BE3C291B-2B87-4F6F-BC1A-546BDA1E2D28}" dt="2019-10-17T14:46:35.319" v="231" actId="207"/>
          <ac:spMkLst>
            <pc:docMk/>
            <pc:sldMk cId="2162432968" sldId="4500"/>
            <ac:spMk id="23" creationId="{9F4F2F19-96EE-4AB4-8D47-83E62705F778}"/>
          </ac:spMkLst>
        </pc:spChg>
      </pc:sldChg>
      <pc:sldChg chg="modSp">
        <pc:chgData name="Nicole Welch" userId="4bbf8b27-f36f-4029-b936-1f4b065af9e0" providerId="ADAL" clId="{BE3C291B-2B87-4F6F-BC1A-546BDA1E2D28}" dt="2019-10-17T14:46:01.740" v="227" actId="207"/>
        <pc:sldMkLst>
          <pc:docMk/>
          <pc:sldMk cId="1496371899" sldId="4501"/>
        </pc:sldMkLst>
        <pc:spChg chg="mod">
          <ac:chgData name="Nicole Welch" userId="4bbf8b27-f36f-4029-b936-1f4b065af9e0" providerId="ADAL" clId="{BE3C291B-2B87-4F6F-BC1A-546BDA1E2D28}" dt="2019-10-17T14:46:01.740" v="227" actId="207"/>
          <ac:spMkLst>
            <pc:docMk/>
            <pc:sldMk cId="1496371899" sldId="4501"/>
            <ac:spMk id="2" creationId="{32D05B58-65BA-434D-B845-F98CC805E110}"/>
          </ac:spMkLst>
        </pc:spChg>
        <pc:spChg chg="mod">
          <ac:chgData name="Nicole Welch" userId="4bbf8b27-f36f-4029-b936-1f4b065af9e0" providerId="ADAL" clId="{BE3C291B-2B87-4F6F-BC1A-546BDA1E2D28}" dt="2019-10-17T14:45:49.955" v="219" actId="207"/>
          <ac:spMkLst>
            <pc:docMk/>
            <pc:sldMk cId="1496371899" sldId="4501"/>
            <ac:spMk id="10" creationId="{E48CF482-0696-4C58-B549-29542A4AB349}"/>
          </ac:spMkLst>
        </pc:spChg>
      </pc:sldChg>
      <pc:sldChg chg="modSp">
        <pc:chgData name="Nicole Welch" userId="4bbf8b27-f36f-4029-b936-1f4b065af9e0" providerId="ADAL" clId="{BE3C291B-2B87-4F6F-BC1A-546BDA1E2D28}" dt="2019-10-17T14:45:40.898" v="218" actId="207"/>
        <pc:sldMkLst>
          <pc:docMk/>
          <pc:sldMk cId="1283439608" sldId="4502"/>
        </pc:sldMkLst>
        <pc:grpChg chg="mod">
          <ac:chgData name="Nicole Welch" userId="4bbf8b27-f36f-4029-b936-1f4b065af9e0" providerId="ADAL" clId="{BE3C291B-2B87-4F6F-BC1A-546BDA1E2D28}" dt="2019-10-17T14:45:40.898" v="218" actId="207"/>
          <ac:grpSpMkLst>
            <pc:docMk/>
            <pc:sldMk cId="1283439608" sldId="4502"/>
            <ac:grpSpMk id="3" creationId="{3D608F39-F36C-43A3-BA32-B66B0AE73225}"/>
          </ac:grpSpMkLst>
        </pc:grpChg>
      </pc:sldChg>
      <pc:sldChg chg="modSp del">
        <pc:chgData name="Nicole Welch" userId="4bbf8b27-f36f-4029-b936-1f4b065af9e0" providerId="ADAL" clId="{BE3C291B-2B87-4F6F-BC1A-546BDA1E2D28}" dt="2019-10-17T19:33:11.174" v="304" actId="47"/>
        <pc:sldMkLst>
          <pc:docMk/>
          <pc:sldMk cId="3929110761" sldId="4506"/>
        </pc:sldMkLst>
        <pc:spChg chg="mod">
          <ac:chgData name="Nicole Welch" userId="4bbf8b27-f36f-4029-b936-1f4b065af9e0" providerId="ADAL" clId="{BE3C291B-2B87-4F6F-BC1A-546BDA1E2D28}" dt="2019-10-17T19:30:14.085" v="233" actId="207"/>
          <ac:spMkLst>
            <pc:docMk/>
            <pc:sldMk cId="3929110761" sldId="4506"/>
            <ac:spMk id="10" creationId="{57E68718-9E5D-47EF-9D85-07CE568D9863}"/>
          </ac:spMkLst>
        </pc:spChg>
        <pc:spChg chg="mod">
          <ac:chgData name="Nicole Welch" userId="4bbf8b27-f36f-4029-b936-1f4b065af9e0" providerId="ADAL" clId="{BE3C291B-2B87-4F6F-BC1A-546BDA1E2D28}" dt="2019-10-17T19:30:17.978" v="234" actId="207"/>
          <ac:spMkLst>
            <pc:docMk/>
            <pc:sldMk cId="3929110761" sldId="4506"/>
            <ac:spMk id="15" creationId="{4A521CF9-F245-42C5-9436-F66B9F5C05B8}"/>
          </ac:spMkLst>
        </pc:spChg>
        <pc:spChg chg="mod">
          <ac:chgData name="Nicole Welch" userId="4bbf8b27-f36f-4029-b936-1f4b065af9e0" providerId="ADAL" clId="{BE3C291B-2B87-4F6F-BC1A-546BDA1E2D28}" dt="2019-10-17T19:30:21.740" v="235" actId="207"/>
          <ac:spMkLst>
            <pc:docMk/>
            <pc:sldMk cId="3929110761" sldId="4506"/>
            <ac:spMk id="20" creationId="{8610056D-2DF6-43C0-B7B6-7399FD050D78}"/>
          </ac:spMkLst>
        </pc:spChg>
        <pc:spChg chg="mod">
          <ac:chgData name="Nicole Welch" userId="4bbf8b27-f36f-4029-b936-1f4b065af9e0" providerId="ADAL" clId="{BE3C291B-2B87-4F6F-BC1A-546BDA1E2D28}" dt="2019-10-17T19:30:08.547" v="232" actId="207"/>
          <ac:spMkLst>
            <pc:docMk/>
            <pc:sldMk cId="3929110761" sldId="4506"/>
            <ac:spMk id="25" creationId="{79C533D7-D937-4FD5-A50D-6D9779F80A20}"/>
          </ac:spMkLst>
        </pc:spChg>
        <pc:spChg chg="mod">
          <ac:chgData name="Nicole Welch" userId="4bbf8b27-f36f-4029-b936-1f4b065af9e0" providerId="ADAL" clId="{BE3C291B-2B87-4F6F-BC1A-546BDA1E2D28}" dt="2019-10-17T19:30:25.373" v="236" actId="207"/>
          <ac:spMkLst>
            <pc:docMk/>
            <pc:sldMk cId="3929110761" sldId="4506"/>
            <ac:spMk id="28" creationId="{B03E5975-EB3D-4BAB-B967-84869D6A1855}"/>
          </ac:spMkLst>
        </pc:spChg>
      </pc:sldChg>
      <pc:sldChg chg="del">
        <pc:chgData name="Nicole Welch" userId="4bbf8b27-f36f-4029-b936-1f4b065af9e0" providerId="ADAL" clId="{BE3C291B-2B87-4F6F-BC1A-546BDA1E2D28}" dt="2019-10-17T19:33:59.956" v="311" actId="47"/>
        <pc:sldMkLst>
          <pc:docMk/>
          <pc:sldMk cId="4152621237" sldId="4507"/>
        </pc:sldMkLst>
      </pc:sldChg>
      <pc:sldChg chg="modSp">
        <pc:chgData name="Nicole Welch" userId="4bbf8b27-f36f-4029-b936-1f4b065af9e0" providerId="ADAL" clId="{BE3C291B-2B87-4F6F-BC1A-546BDA1E2D28}" dt="2019-10-17T19:32:28.165" v="285" actId="207"/>
        <pc:sldMkLst>
          <pc:docMk/>
          <pc:sldMk cId="746434029" sldId="4512"/>
        </pc:sldMkLst>
        <pc:spChg chg="mod">
          <ac:chgData name="Nicole Welch" userId="4bbf8b27-f36f-4029-b936-1f4b065af9e0" providerId="ADAL" clId="{BE3C291B-2B87-4F6F-BC1A-546BDA1E2D28}" dt="2019-10-17T19:32:04.946" v="283" actId="1035"/>
          <ac:spMkLst>
            <pc:docMk/>
            <pc:sldMk cId="746434029" sldId="4512"/>
            <ac:spMk id="46" creationId="{853623A4-C86F-4D8C-A411-BA50890F7536}"/>
          </ac:spMkLst>
        </pc:spChg>
        <pc:spChg chg="mod">
          <ac:chgData name="Nicole Welch" userId="4bbf8b27-f36f-4029-b936-1f4b065af9e0" providerId="ADAL" clId="{BE3C291B-2B87-4F6F-BC1A-546BDA1E2D28}" dt="2019-10-17T19:32:24.550" v="284" actId="207"/>
          <ac:spMkLst>
            <pc:docMk/>
            <pc:sldMk cId="746434029" sldId="4512"/>
            <ac:spMk id="87" creationId="{94CFACBA-8493-4CC4-AEEA-D3C82D8D3F4B}"/>
          </ac:spMkLst>
        </pc:spChg>
        <pc:spChg chg="mod">
          <ac:chgData name="Nicole Welch" userId="4bbf8b27-f36f-4029-b936-1f4b065af9e0" providerId="ADAL" clId="{BE3C291B-2B87-4F6F-BC1A-546BDA1E2D28}" dt="2019-10-17T19:32:28.165" v="285" actId="207"/>
          <ac:spMkLst>
            <pc:docMk/>
            <pc:sldMk cId="746434029" sldId="4512"/>
            <ac:spMk id="89" creationId="{3827C8AE-53A0-4996-8DEB-D972582F2B9E}"/>
          </ac:spMkLst>
        </pc:spChg>
        <pc:grpChg chg="mod">
          <ac:chgData name="Nicole Welch" userId="4bbf8b27-f36f-4029-b936-1f4b065af9e0" providerId="ADAL" clId="{BE3C291B-2B87-4F6F-BC1A-546BDA1E2D28}" dt="2019-10-17T19:32:04.946" v="283" actId="1035"/>
          <ac:grpSpMkLst>
            <pc:docMk/>
            <pc:sldMk cId="746434029" sldId="4512"/>
            <ac:grpSpMk id="90" creationId="{AA0BEDCD-ACBD-4645-9A03-7B5EF9969F4E}"/>
          </ac:grpSpMkLst>
        </pc:grpChg>
      </pc:sldChg>
      <pc:sldChg chg="del">
        <pc:chgData name="Nicole Welch" userId="4bbf8b27-f36f-4029-b936-1f4b065af9e0" providerId="ADAL" clId="{BE3C291B-2B87-4F6F-BC1A-546BDA1E2D28}" dt="2019-10-17T19:33:27.988" v="305" actId="47"/>
        <pc:sldMkLst>
          <pc:docMk/>
          <pc:sldMk cId="1550839596" sldId="4513"/>
        </pc:sldMkLst>
      </pc:sldChg>
      <pc:sldChg chg="del">
        <pc:chgData name="Nicole Welch" userId="4bbf8b27-f36f-4029-b936-1f4b065af9e0" providerId="ADAL" clId="{BE3C291B-2B87-4F6F-BC1A-546BDA1E2D28}" dt="2019-10-17T19:33:40.746" v="307" actId="47"/>
        <pc:sldMkLst>
          <pc:docMk/>
          <pc:sldMk cId="710182464" sldId="4514"/>
        </pc:sldMkLst>
      </pc:sldChg>
      <pc:sldChg chg="del">
        <pc:chgData name="Nicole Welch" userId="4bbf8b27-f36f-4029-b936-1f4b065af9e0" providerId="ADAL" clId="{BE3C291B-2B87-4F6F-BC1A-546BDA1E2D28}" dt="2019-10-17T19:33:33.281" v="306" actId="47"/>
        <pc:sldMkLst>
          <pc:docMk/>
          <pc:sldMk cId="3700176569" sldId="4515"/>
        </pc:sldMkLst>
      </pc:sldChg>
      <pc:sldChg chg="modSp">
        <pc:chgData name="Nicole Welch" userId="4bbf8b27-f36f-4029-b936-1f4b065af9e0" providerId="ADAL" clId="{BE3C291B-2B87-4F6F-BC1A-546BDA1E2D28}" dt="2019-10-17T19:34:50.876" v="326" actId="20577"/>
        <pc:sldMkLst>
          <pc:docMk/>
          <pc:sldMk cId="2449729406" sldId="4550"/>
        </pc:sldMkLst>
        <pc:spChg chg="mod">
          <ac:chgData name="Nicole Welch" userId="4bbf8b27-f36f-4029-b936-1f4b065af9e0" providerId="ADAL" clId="{BE3C291B-2B87-4F6F-BC1A-546BDA1E2D28}" dt="2019-10-17T19:34:50.876" v="326" actId="20577"/>
          <ac:spMkLst>
            <pc:docMk/>
            <pc:sldMk cId="2449729406" sldId="4550"/>
            <ac:spMk id="5" creationId="{DFA27D6D-C399-43B1-BC64-56FA731B0E35}"/>
          </ac:spMkLst>
        </pc:spChg>
      </pc:sldChg>
      <pc:sldChg chg="del">
        <pc:chgData name="Nicole Welch" userId="4bbf8b27-f36f-4029-b936-1f4b065af9e0" providerId="ADAL" clId="{BE3C291B-2B87-4F6F-BC1A-546BDA1E2D28}" dt="2019-10-17T19:33:44.673" v="308" actId="47"/>
        <pc:sldMkLst>
          <pc:docMk/>
          <pc:sldMk cId="3125128277" sldId="8333"/>
        </pc:sldMkLst>
      </pc:sldChg>
      <pc:sldChg chg="del">
        <pc:chgData name="Nicole Welch" userId="4bbf8b27-f36f-4029-b936-1f4b065af9e0" providerId="ADAL" clId="{BE3C291B-2B87-4F6F-BC1A-546BDA1E2D28}" dt="2019-10-17T19:33:48.132" v="310" actId="47"/>
        <pc:sldMkLst>
          <pc:docMk/>
          <pc:sldMk cId="3871492434" sldId="8338"/>
        </pc:sldMkLst>
      </pc:sldChg>
      <pc:sldChg chg="del">
        <pc:chgData name="Nicole Welch" userId="4bbf8b27-f36f-4029-b936-1f4b065af9e0" providerId="ADAL" clId="{BE3C291B-2B87-4F6F-BC1A-546BDA1E2D28}" dt="2019-10-17T19:33:46.048" v="309" actId="47"/>
        <pc:sldMkLst>
          <pc:docMk/>
          <pc:sldMk cId="78394776" sldId="8339"/>
        </pc:sldMkLst>
      </pc:sldChg>
      <pc:sldChg chg="modSp">
        <pc:chgData name="Nicole Welch" userId="4bbf8b27-f36f-4029-b936-1f4b065af9e0" providerId="ADAL" clId="{BE3C291B-2B87-4F6F-BC1A-546BDA1E2D28}" dt="2019-10-18T15:26:09.655" v="404" actId="14100"/>
        <pc:sldMkLst>
          <pc:docMk/>
          <pc:sldMk cId="3791582875" sldId="8343"/>
        </pc:sldMkLst>
        <pc:spChg chg="mod">
          <ac:chgData name="Nicole Welch" userId="4bbf8b27-f36f-4029-b936-1f4b065af9e0" providerId="ADAL" clId="{BE3C291B-2B87-4F6F-BC1A-546BDA1E2D28}" dt="2019-10-18T15:26:09.655" v="404" actId="14100"/>
          <ac:spMkLst>
            <pc:docMk/>
            <pc:sldMk cId="3791582875" sldId="8343"/>
            <ac:spMk id="2" creationId="{2DA30E4F-3E49-4D50-A9DB-6468452072F4}"/>
          </ac:spMkLst>
        </pc:spChg>
        <pc:spChg chg="mod">
          <ac:chgData name="Nicole Welch" userId="4bbf8b27-f36f-4029-b936-1f4b065af9e0" providerId="ADAL" clId="{BE3C291B-2B87-4F6F-BC1A-546BDA1E2D28}" dt="2019-10-17T14:46:25.955" v="229" actId="207"/>
          <ac:spMkLst>
            <pc:docMk/>
            <pc:sldMk cId="3791582875" sldId="8343"/>
            <ac:spMk id="11" creationId="{8D4126EE-F7B4-48AA-8F50-1A67F1F2BD69}"/>
          </ac:spMkLst>
        </pc:spChg>
        <pc:grpChg chg="mod">
          <ac:chgData name="Nicole Welch" userId="4bbf8b27-f36f-4029-b936-1f4b065af9e0" providerId="ADAL" clId="{BE3C291B-2B87-4F6F-BC1A-546BDA1E2D28}" dt="2019-10-17T14:46:29.355" v="230" actId="207"/>
          <ac:grpSpMkLst>
            <pc:docMk/>
            <pc:sldMk cId="3791582875" sldId="8343"/>
            <ac:grpSpMk id="3" creationId="{3D608F39-F36C-43A3-BA32-B66B0AE73225}"/>
          </ac:grpSpMkLst>
        </pc:grpChg>
      </pc:sldChg>
      <pc:sldChg chg="modSp">
        <pc:chgData name="Nicole Welch" userId="4bbf8b27-f36f-4029-b936-1f4b065af9e0" providerId="ADAL" clId="{BE3C291B-2B87-4F6F-BC1A-546BDA1E2D28}" dt="2019-10-23T15:25:08.331" v="442" actId="20577"/>
        <pc:sldMkLst>
          <pc:docMk/>
          <pc:sldMk cId="4257894506" sldId="8344"/>
        </pc:sldMkLst>
        <pc:spChg chg="mod">
          <ac:chgData name="Nicole Welch" userId="4bbf8b27-f36f-4029-b936-1f4b065af9e0" providerId="ADAL" clId="{BE3C291B-2B87-4F6F-BC1A-546BDA1E2D28}" dt="2019-10-23T15:25:08.331" v="442" actId="20577"/>
          <ac:spMkLst>
            <pc:docMk/>
            <pc:sldMk cId="4257894506" sldId="8344"/>
            <ac:spMk id="6" creationId="{D716AEBB-0677-4E78-BD4B-34A9612BE63E}"/>
          </ac:spMkLst>
        </pc:spChg>
      </pc:sldChg>
      <pc:sldChg chg="modSp">
        <pc:chgData name="Nicole Welch" userId="4bbf8b27-f36f-4029-b936-1f4b065af9e0" providerId="ADAL" clId="{BE3C291B-2B87-4F6F-BC1A-546BDA1E2D28}" dt="2019-10-17T19:35:02.163" v="344" actId="1038"/>
        <pc:sldMkLst>
          <pc:docMk/>
          <pc:sldMk cId="153187911" sldId="9736"/>
        </pc:sldMkLst>
        <pc:spChg chg="mod">
          <ac:chgData name="Nicole Welch" userId="4bbf8b27-f36f-4029-b936-1f4b065af9e0" providerId="ADAL" clId="{BE3C291B-2B87-4F6F-BC1A-546BDA1E2D28}" dt="2019-10-17T19:34:39.651" v="324" actId="14100"/>
          <ac:spMkLst>
            <pc:docMk/>
            <pc:sldMk cId="153187911" sldId="9736"/>
            <ac:spMk id="10" creationId="{22855FC9-0CCF-4381-97B7-0DC97AEA9D24}"/>
          </ac:spMkLst>
        </pc:spChg>
        <pc:spChg chg="mod">
          <ac:chgData name="Nicole Welch" userId="4bbf8b27-f36f-4029-b936-1f4b065af9e0" providerId="ADAL" clId="{BE3C291B-2B87-4F6F-BC1A-546BDA1E2D28}" dt="2019-10-17T19:34:27.165" v="318" actId="207"/>
          <ac:spMkLst>
            <pc:docMk/>
            <pc:sldMk cId="153187911" sldId="9736"/>
            <ac:spMk id="39" creationId="{A6E194B7-E018-477B-B137-2EF7DD686C0E}"/>
          </ac:spMkLst>
        </pc:spChg>
        <pc:spChg chg="mod">
          <ac:chgData name="Nicole Welch" userId="4bbf8b27-f36f-4029-b936-1f4b065af9e0" providerId="ADAL" clId="{BE3C291B-2B87-4F6F-BC1A-546BDA1E2D28}" dt="2019-10-17T19:35:02.163" v="344" actId="1038"/>
          <ac:spMkLst>
            <pc:docMk/>
            <pc:sldMk cId="153187911" sldId="9736"/>
            <ac:spMk id="63" creationId="{9AC49D12-8B19-471C-8830-ABA865124753}"/>
          </ac:spMkLst>
        </pc:spChg>
        <pc:grpChg chg="mod">
          <ac:chgData name="Nicole Welch" userId="4bbf8b27-f36f-4029-b936-1f4b065af9e0" providerId="ADAL" clId="{BE3C291B-2B87-4F6F-BC1A-546BDA1E2D28}" dt="2019-10-17T19:35:02.163" v="344" actId="1038"/>
          <ac:grpSpMkLst>
            <pc:docMk/>
            <pc:sldMk cId="153187911" sldId="9736"/>
            <ac:grpSpMk id="65" creationId="{59645AFF-C4C1-4F9C-A3BE-80408192D30B}"/>
          </ac:grpSpMkLst>
        </pc:grpChg>
      </pc:sldChg>
      <pc:sldChg chg="modSp">
        <pc:chgData name="Nicole Welch" userId="4bbf8b27-f36f-4029-b936-1f4b065af9e0" providerId="ADAL" clId="{BE3C291B-2B87-4F6F-BC1A-546BDA1E2D28}" dt="2019-10-17T14:34:43.245" v="114" actId="1076"/>
        <pc:sldMkLst>
          <pc:docMk/>
          <pc:sldMk cId="3788046023" sldId="9740"/>
        </pc:sldMkLst>
        <pc:graphicFrameChg chg="mod">
          <ac:chgData name="Nicole Welch" userId="4bbf8b27-f36f-4029-b936-1f4b065af9e0" providerId="ADAL" clId="{BE3C291B-2B87-4F6F-BC1A-546BDA1E2D28}" dt="2019-10-17T14:34:43.245" v="114" actId="1076"/>
          <ac:graphicFrameMkLst>
            <pc:docMk/>
            <pc:sldMk cId="3788046023" sldId="9740"/>
            <ac:graphicFrameMk id="5" creationId="{333B5173-1318-403E-A060-CC1D93DEEFC6}"/>
          </ac:graphicFrameMkLst>
        </pc:graphicFrameChg>
      </pc:sldChg>
      <pc:sldChg chg="modSp">
        <pc:chgData name="Nicole Welch" userId="4bbf8b27-f36f-4029-b936-1f4b065af9e0" providerId="ADAL" clId="{BE3C291B-2B87-4F6F-BC1A-546BDA1E2D28}" dt="2019-10-17T14:18:01.496" v="83" actId="6549"/>
        <pc:sldMkLst>
          <pc:docMk/>
          <pc:sldMk cId="1271331840" sldId="9751"/>
        </pc:sldMkLst>
        <pc:spChg chg="mod">
          <ac:chgData name="Nicole Welch" userId="4bbf8b27-f36f-4029-b936-1f4b065af9e0" providerId="ADAL" clId="{BE3C291B-2B87-4F6F-BC1A-546BDA1E2D28}" dt="2019-10-17T14:18:01.496" v="83" actId="6549"/>
          <ac:spMkLst>
            <pc:docMk/>
            <pc:sldMk cId="1271331840" sldId="9751"/>
            <ac:spMk id="2" creationId="{3B143B7F-AE2F-42F4-B21C-1FBC38A2823F}"/>
          </ac:spMkLst>
        </pc:spChg>
      </pc:sldChg>
      <pc:sldChg chg="ord">
        <pc:chgData name="Nicole Welch" userId="4bbf8b27-f36f-4029-b936-1f4b065af9e0" providerId="ADAL" clId="{BE3C291B-2B87-4F6F-BC1A-546BDA1E2D28}" dt="2019-10-17T14:18:11.380" v="85"/>
        <pc:sldMkLst>
          <pc:docMk/>
          <pc:sldMk cId="2858831875" sldId="9752"/>
        </pc:sldMkLst>
      </pc:sldChg>
      <pc:sldChg chg="modSp">
        <pc:chgData name="Nicole Welch" userId="4bbf8b27-f36f-4029-b936-1f4b065af9e0" providerId="ADAL" clId="{BE3C291B-2B87-4F6F-BC1A-546BDA1E2D28}" dt="2019-10-17T14:29:57.458" v="97" actId="207"/>
        <pc:sldMkLst>
          <pc:docMk/>
          <pc:sldMk cId="1289679640" sldId="9768"/>
        </pc:sldMkLst>
        <pc:spChg chg="mod">
          <ac:chgData name="Nicole Welch" userId="4bbf8b27-f36f-4029-b936-1f4b065af9e0" providerId="ADAL" clId="{BE3C291B-2B87-4F6F-BC1A-546BDA1E2D28}" dt="2019-10-17T14:29:57.458" v="97" actId="207"/>
          <ac:spMkLst>
            <pc:docMk/>
            <pc:sldMk cId="1289679640" sldId="9768"/>
            <ac:spMk id="10" creationId="{35D21256-307D-4EBD-B573-5AE472E1B859}"/>
          </ac:spMkLst>
        </pc:spChg>
        <pc:spChg chg="mod">
          <ac:chgData name="Nicole Welch" userId="4bbf8b27-f36f-4029-b936-1f4b065af9e0" providerId="ADAL" clId="{BE3C291B-2B87-4F6F-BC1A-546BDA1E2D28}" dt="2019-10-17T14:29:54.321" v="96" actId="207"/>
          <ac:spMkLst>
            <pc:docMk/>
            <pc:sldMk cId="1289679640" sldId="9768"/>
            <ac:spMk id="11" creationId="{14D7FAE7-EAC9-4419-8084-CC1A70EF52AF}"/>
          </ac:spMkLst>
        </pc:spChg>
      </pc:sldChg>
      <pc:sldChg chg="del">
        <pc:chgData name="Nicole Welch" userId="4bbf8b27-f36f-4029-b936-1f4b065af9e0" providerId="ADAL" clId="{BE3C291B-2B87-4F6F-BC1A-546BDA1E2D28}" dt="2019-10-17T14:36:51.293" v="172" actId="47"/>
        <pc:sldMkLst>
          <pc:docMk/>
          <pc:sldMk cId="2106700118" sldId="9770"/>
        </pc:sldMkLst>
      </pc:sldChg>
      <pc:sldChg chg="modSp">
        <pc:chgData name="Nicole Welch" userId="4bbf8b27-f36f-4029-b936-1f4b065af9e0" providerId="ADAL" clId="{BE3C291B-2B87-4F6F-BC1A-546BDA1E2D28}" dt="2019-10-17T13:45:26.295" v="30" actId="6549"/>
        <pc:sldMkLst>
          <pc:docMk/>
          <pc:sldMk cId="2092215434" sldId="9771"/>
        </pc:sldMkLst>
        <pc:spChg chg="mod">
          <ac:chgData name="Nicole Welch" userId="4bbf8b27-f36f-4029-b936-1f4b065af9e0" providerId="ADAL" clId="{BE3C291B-2B87-4F6F-BC1A-546BDA1E2D28}" dt="2019-10-17T13:45:26.295" v="30" actId="6549"/>
          <ac:spMkLst>
            <pc:docMk/>
            <pc:sldMk cId="2092215434" sldId="9771"/>
            <ac:spMk id="3" creationId="{AAC76769-80FA-4826-BAD2-3CA242AD713F}"/>
          </ac:spMkLst>
        </pc:spChg>
        <pc:spChg chg="mod">
          <ac:chgData name="Nicole Welch" userId="4bbf8b27-f36f-4029-b936-1f4b065af9e0" providerId="ADAL" clId="{BE3C291B-2B87-4F6F-BC1A-546BDA1E2D28}" dt="2019-10-17T13:45:17.850" v="29" actId="20577"/>
          <ac:spMkLst>
            <pc:docMk/>
            <pc:sldMk cId="2092215434" sldId="9771"/>
            <ac:spMk id="6" creationId="{936E1D1A-D931-465C-B996-50031AA302DA}"/>
          </ac:spMkLst>
        </pc:spChg>
      </pc:sldChg>
      <pc:sldChg chg="modSp">
        <pc:chgData name="Nicole Welch" userId="4bbf8b27-f36f-4029-b936-1f4b065af9e0" providerId="ADAL" clId="{BE3C291B-2B87-4F6F-BC1A-546BDA1E2D28}" dt="2019-10-18T15:19:16.269" v="354" actId="20577"/>
        <pc:sldMkLst>
          <pc:docMk/>
          <pc:sldMk cId="2490428422" sldId="9772"/>
        </pc:sldMkLst>
        <pc:spChg chg="mod">
          <ac:chgData name="Nicole Welch" userId="4bbf8b27-f36f-4029-b936-1f4b065af9e0" providerId="ADAL" clId="{BE3C291B-2B87-4F6F-BC1A-546BDA1E2D28}" dt="2019-10-18T15:19:16.269" v="354" actId="20577"/>
          <ac:spMkLst>
            <pc:docMk/>
            <pc:sldMk cId="2490428422" sldId="9772"/>
            <ac:spMk id="3" creationId="{CC043030-27E8-46BC-9111-5AEEA65A29DB}"/>
          </ac:spMkLst>
        </pc:spChg>
      </pc:sldChg>
      <pc:sldChg chg="modSp">
        <pc:chgData name="Nicole Welch" userId="4bbf8b27-f36f-4029-b936-1f4b065af9e0" providerId="ADAL" clId="{BE3C291B-2B87-4F6F-BC1A-546BDA1E2D28}" dt="2019-10-17T14:35:42.149" v="144" actId="1036"/>
        <pc:sldMkLst>
          <pc:docMk/>
          <pc:sldMk cId="628098638" sldId="9780"/>
        </pc:sldMkLst>
        <pc:spChg chg="mod">
          <ac:chgData name="Nicole Welch" userId="4bbf8b27-f36f-4029-b936-1f4b065af9e0" providerId="ADAL" clId="{BE3C291B-2B87-4F6F-BC1A-546BDA1E2D28}" dt="2019-10-17T14:30:22.180" v="98" actId="207"/>
          <ac:spMkLst>
            <pc:docMk/>
            <pc:sldMk cId="628098638" sldId="9780"/>
            <ac:spMk id="45" creationId="{90DDCABC-8CA3-40AC-BE33-C9872AE9C56E}"/>
          </ac:spMkLst>
        </pc:spChg>
        <pc:spChg chg="mod">
          <ac:chgData name="Nicole Welch" userId="4bbf8b27-f36f-4029-b936-1f4b065af9e0" providerId="ADAL" clId="{BE3C291B-2B87-4F6F-BC1A-546BDA1E2D28}" dt="2019-10-17T14:35:36.055" v="132" actId="20577"/>
          <ac:spMkLst>
            <pc:docMk/>
            <pc:sldMk cId="628098638" sldId="9780"/>
            <ac:spMk id="134" creationId="{8E1F4DC8-AB65-4B88-B97D-FCABEA6AC582}"/>
          </ac:spMkLst>
        </pc:spChg>
        <pc:grpChg chg="mod">
          <ac:chgData name="Nicole Welch" userId="4bbf8b27-f36f-4029-b936-1f4b065af9e0" providerId="ADAL" clId="{BE3C291B-2B87-4F6F-BC1A-546BDA1E2D28}" dt="2019-10-17T14:30:22.180" v="98" actId="207"/>
          <ac:grpSpMkLst>
            <pc:docMk/>
            <pc:sldMk cId="628098638" sldId="9780"/>
            <ac:grpSpMk id="21" creationId="{513B25BA-E139-4327-8ADC-21C649B56902}"/>
          </ac:grpSpMkLst>
        </pc:grpChg>
        <pc:picChg chg="mod">
          <ac:chgData name="Nicole Welch" userId="4bbf8b27-f36f-4029-b936-1f4b065af9e0" providerId="ADAL" clId="{BE3C291B-2B87-4F6F-BC1A-546BDA1E2D28}" dt="2019-10-17T14:30:31.030" v="99" actId="208"/>
          <ac:picMkLst>
            <pc:docMk/>
            <pc:sldMk cId="628098638" sldId="9780"/>
            <ac:picMk id="36" creationId="{FE389A63-D607-4BCB-94EB-EAC090BAA4D4}"/>
          </ac:picMkLst>
        </pc:picChg>
        <pc:cxnChg chg="mod">
          <ac:chgData name="Nicole Welch" userId="4bbf8b27-f36f-4029-b936-1f4b065af9e0" providerId="ADAL" clId="{BE3C291B-2B87-4F6F-BC1A-546BDA1E2D28}" dt="2019-10-17T14:35:42.149" v="144" actId="1036"/>
          <ac:cxnSpMkLst>
            <pc:docMk/>
            <pc:sldMk cId="628098638" sldId="9780"/>
            <ac:cxnSpMk id="81" creationId="{D17798A0-23BE-42B3-B37B-22CA71E346E4}"/>
          </ac:cxnSpMkLst>
        </pc:cxnChg>
      </pc:sldChg>
      <pc:sldChg chg="del">
        <pc:chgData name="Nicole Welch" userId="4bbf8b27-f36f-4029-b936-1f4b065af9e0" providerId="ADAL" clId="{BE3C291B-2B87-4F6F-BC1A-546BDA1E2D28}" dt="2019-10-23T15:18:20.583" v="431" actId="47"/>
        <pc:sldMkLst>
          <pc:docMk/>
          <pc:sldMk cId="3193471013" sldId="9781"/>
        </pc:sldMkLst>
      </pc:sldChg>
      <pc:sldChg chg="addSp delSp modSp">
        <pc:chgData name="Nicole Welch" userId="4bbf8b27-f36f-4029-b936-1f4b065af9e0" providerId="ADAL" clId="{BE3C291B-2B87-4F6F-BC1A-546BDA1E2D28}" dt="2019-10-23T15:18:42.310" v="434"/>
        <pc:sldMkLst>
          <pc:docMk/>
          <pc:sldMk cId="3278079682" sldId="9782"/>
        </pc:sldMkLst>
        <pc:spChg chg="mod">
          <ac:chgData name="Nicole Welch" userId="4bbf8b27-f36f-4029-b936-1f4b065af9e0" providerId="ADAL" clId="{BE3C291B-2B87-4F6F-BC1A-546BDA1E2D28}" dt="2019-10-18T15:19:50.756" v="356"/>
          <ac:spMkLst>
            <pc:docMk/>
            <pc:sldMk cId="3278079682" sldId="9782"/>
            <ac:spMk id="6" creationId="{E82AF2CA-3E44-4D97-8EB5-C7709F657D3D}"/>
          </ac:spMkLst>
        </pc:spChg>
        <pc:graphicFrameChg chg="add del">
          <ac:chgData name="Nicole Welch" userId="4bbf8b27-f36f-4029-b936-1f4b065af9e0" providerId="ADAL" clId="{BE3C291B-2B87-4F6F-BC1A-546BDA1E2D28}" dt="2019-10-23T15:18:42.310" v="434"/>
          <ac:graphicFrameMkLst>
            <pc:docMk/>
            <pc:sldMk cId="3278079682" sldId="9782"/>
            <ac:graphicFrameMk id="2" creationId="{FBDDAB9D-B086-4694-8F35-E0BC05749F88}"/>
          </ac:graphicFrameMkLst>
        </pc:graphicFrameChg>
      </pc:sldChg>
      <pc:sldChg chg="modSp">
        <pc:chgData name="Nicole Welch" userId="4bbf8b27-f36f-4029-b936-1f4b065af9e0" providerId="ADAL" clId="{BE3C291B-2B87-4F6F-BC1A-546BDA1E2D28}" dt="2019-10-18T15:25:05.375" v="370" actId="20577"/>
        <pc:sldMkLst>
          <pc:docMk/>
          <pc:sldMk cId="711477193" sldId="9783"/>
        </pc:sldMkLst>
        <pc:spChg chg="mod">
          <ac:chgData name="Nicole Welch" userId="4bbf8b27-f36f-4029-b936-1f4b065af9e0" providerId="ADAL" clId="{BE3C291B-2B87-4F6F-BC1A-546BDA1E2D28}" dt="2019-10-17T19:51:44.127" v="351" actId="6549"/>
          <ac:spMkLst>
            <pc:docMk/>
            <pc:sldMk cId="711477193" sldId="9783"/>
            <ac:spMk id="3" creationId="{CC043030-27E8-46BC-9111-5AEEA65A29DB}"/>
          </ac:spMkLst>
        </pc:spChg>
        <pc:spChg chg="mod">
          <ac:chgData name="Nicole Welch" userId="4bbf8b27-f36f-4029-b936-1f4b065af9e0" providerId="ADAL" clId="{BE3C291B-2B87-4F6F-BC1A-546BDA1E2D28}" dt="2019-10-18T15:25:05.375" v="370" actId="20577"/>
          <ac:spMkLst>
            <pc:docMk/>
            <pc:sldMk cId="711477193" sldId="9783"/>
            <ac:spMk id="6" creationId="{E82AF2CA-3E44-4D97-8EB5-C7709F657D3D}"/>
          </ac:spMkLst>
        </pc:spChg>
      </pc:sldChg>
      <pc:sldChg chg="del">
        <pc:chgData name="Nicole Welch" userId="4bbf8b27-f36f-4029-b936-1f4b065af9e0" providerId="ADAL" clId="{BE3C291B-2B87-4F6F-BC1A-546BDA1E2D28}" dt="2019-10-17T14:17:39.304" v="81" actId="47"/>
        <pc:sldMkLst>
          <pc:docMk/>
          <pc:sldMk cId="2452789499" sldId="9784"/>
        </pc:sldMkLst>
      </pc:sldChg>
      <pc:sldChg chg="modSp">
        <pc:chgData name="Nicole Welch" userId="4bbf8b27-f36f-4029-b936-1f4b065af9e0" providerId="ADAL" clId="{BE3C291B-2B87-4F6F-BC1A-546BDA1E2D28}" dt="2019-10-17T14:38:11.474" v="203" actId="208"/>
        <pc:sldMkLst>
          <pc:docMk/>
          <pc:sldMk cId="2478391950" sldId="9786"/>
        </pc:sldMkLst>
        <pc:spChg chg="mod">
          <ac:chgData name="Nicole Welch" userId="4bbf8b27-f36f-4029-b936-1f4b065af9e0" providerId="ADAL" clId="{BE3C291B-2B87-4F6F-BC1A-546BDA1E2D28}" dt="2019-10-17T14:38:06.654" v="202" actId="207"/>
          <ac:spMkLst>
            <pc:docMk/>
            <pc:sldMk cId="2478391950" sldId="9786"/>
            <ac:spMk id="43" creationId="{411B0740-B1A2-4BE3-983C-26F10E2093FF}"/>
          </ac:spMkLst>
        </pc:spChg>
        <pc:spChg chg="mod">
          <ac:chgData name="Nicole Welch" userId="4bbf8b27-f36f-4029-b936-1f4b065af9e0" providerId="ADAL" clId="{BE3C291B-2B87-4F6F-BC1A-546BDA1E2D28}" dt="2019-10-17T14:38:04.643" v="201" actId="208"/>
          <ac:spMkLst>
            <pc:docMk/>
            <pc:sldMk cId="2478391950" sldId="9786"/>
            <ac:spMk id="135" creationId="{35258081-E33F-474A-9964-FCA95B979BEC}"/>
          </ac:spMkLst>
        </pc:spChg>
        <pc:spChg chg="mod">
          <ac:chgData name="Nicole Welch" userId="4bbf8b27-f36f-4029-b936-1f4b065af9e0" providerId="ADAL" clId="{BE3C291B-2B87-4F6F-BC1A-546BDA1E2D28}" dt="2019-10-17T14:38:04.643" v="201" actId="208"/>
          <ac:spMkLst>
            <pc:docMk/>
            <pc:sldMk cId="2478391950" sldId="9786"/>
            <ac:spMk id="140" creationId="{072F0ADB-A398-41DB-B6A4-C07AB8D72DAF}"/>
          </ac:spMkLst>
        </pc:spChg>
        <pc:grpChg chg="mod">
          <ac:chgData name="Nicole Welch" userId="4bbf8b27-f36f-4029-b936-1f4b065af9e0" providerId="ADAL" clId="{BE3C291B-2B87-4F6F-BC1A-546BDA1E2D28}" dt="2019-10-17T14:38:06.654" v="202" actId="207"/>
          <ac:grpSpMkLst>
            <pc:docMk/>
            <pc:sldMk cId="2478391950" sldId="9786"/>
            <ac:grpSpMk id="19" creationId="{D2F93413-707B-4193-A7AD-16DD11498EC3}"/>
          </ac:grpSpMkLst>
        </pc:grpChg>
        <pc:picChg chg="mod">
          <ac:chgData name="Nicole Welch" userId="4bbf8b27-f36f-4029-b936-1f4b065af9e0" providerId="ADAL" clId="{BE3C291B-2B87-4F6F-BC1A-546BDA1E2D28}" dt="2019-10-17T14:38:11.474" v="203" actId="208"/>
          <ac:picMkLst>
            <pc:docMk/>
            <pc:sldMk cId="2478391950" sldId="9786"/>
            <ac:picMk id="37" creationId="{21E8C59B-4A13-4142-BDED-4C829900FAE8}"/>
          </ac:picMkLst>
        </pc:picChg>
        <pc:cxnChg chg="mod">
          <ac:chgData name="Nicole Welch" userId="4bbf8b27-f36f-4029-b936-1f4b065af9e0" providerId="ADAL" clId="{BE3C291B-2B87-4F6F-BC1A-546BDA1E2D28}" dt="2019-10-17T14:38:04.643" v="201" actId="208"/>
          <ac:cxnSpMkLst>
            <pc:docMk/>
            <pc:sldMk cId="2478391950" sldId="9786"/>
            <ac:cxnSpMk id="14" creationId="{F2E322D4-E3FE-4EDA-B96B-9F0D5FA6D78D}"/>
          </ac:cxnSpMkLst>
        </pc:cxnChg>
      </pc:sldChg>
      <pc:sldChg chg="modSp">
        <pc:chgData name="Nicole Welch" userId="4bbf8b27-f36f-4029-b936-1f4b065af9e0" providerId="ADAL" clId="{BE3C291B-2B87-4F6F-BC1A-546BDA1E2D28}" dt="2019-10-23T18:54:54.597" v="502" actId="20577"/>
        <pc:sldMkLst>
          <pc:docMk/>
          <pc:sldMk cId="1156615156" sldId="9787"/>
        </pc:sldMkLst>
        <pc:spChg chg="mod">
          <ac:chgData name="Nicole Welch" userId="4bbf8b27-f36f-4029-b936-1f4b065af9e0" providerId="ADAL" clId="{BE3C291B-2B87-4F6F-BC1A-546BDA1E2D28}" dt="2019-10-23T18:54:54.597" v="502" actId="20577"/>
          <ac:spMkLst>
            <pc:docMk/>
            <pc:sldMk cId="1156615156" sldId="9787"/>
            <ac:spMk id="3" creationId="{CC043030-27E8-46BC-9111-5AEEA65A29DB}"/>
          </ac:spMkLst>
        </pc:spChg>
        <pc:spChg chg="mod">
          <ac:chgData name="Nicole Welch" userId="4bbf8b27-f36f-4029-b936-1f4b065af9e0" providerId="ADAL" clId="{BE3C291B-2B87-4F6F-BC1A-546BDA1E2D28}" dt="2019-10-23T18:54:38.680" v="494" actId="20577"/>
          <ac:spMkLst>
            <pc:docMk/>
            <pc:sldMk cId="1156615156" sldId="9787"/>
            <ac:spMk id="6" creationId="{E82AF2CA-3E44-4D97-8EB5-C7709F657D3D}"/>
          </ac:spMkLst>
        </pc:spChg>
      </pc:sldChg>
      <pc:sldChg chg="delSp modSp add setBg delDesignElem">
        <pc:chgData name="Nicole Welch" userId="4bbf8b27-f36f-4029-b936-1f4b065af9e0" providerId="ADAL" clId="{BE3C291B-2B87-4F6F-BC1A-546BDA1E2D28}" dt="2019-10-18T15:29:00.506" v="413" actId="1076"/>
        <pc:sldMkLst>
          <pc:docMk/>
          <pc:sldMk cId="3613377680" sldId="9788"/>
        </pc:sldMkLst>
        <pc:spChg chg="del">
          <ac:chgData name="Nicole Welch" userId="4bbf8b27-f36f-4029-b936-1f4b065af9e0" providerId="ADAL" clId="{BE3C291B-2B87-4F6F-BC1A-546BDA1E2D28}" dt="2019-10-17T14:19:19.051" v="87"/>
          <ac:spMkLst>
            <pc:docMk/>
            <pc:sldMk cId="3613377680" sldId="9788"/>
            <ac:spMk id="12" creationId="{27810DC0-66C7-4366-88EA-6E664FD3C54B}"/>
          </ac:spMkLst>
        </pc:spChg>
        <pc:spChg chg="del">
          <ac:chgData name="Nicole Welch" userId="4bbf8b27-f36f-4029-b936-1f4b065af9e0" providerId="ADAL" clId="{BE3C291B-2B87-4F6F-BC1A-546BDA1E2D28}" dt="2019-10-17T14:19:19.051" v="87"/>
          <ac:spMkLst>
            <pc:docMk/>
            <pc:sldMk cId="3613377680" sldId="9788"/>
            <ac:spMk id="14" creationId="{042D072A-532A-416F-8B5A-995223B6FF42}"/>
          </ac:spMkLst>
        </pc:spChg>
        <pc:spChg chg="del">
          <ac:chgData name="Nicole Welch" userId="4bbf8b27-f36f-4029-b936-1f4b065af9e0" providerId="ADAL" clId="{BE3C291B-2B87-4F6F-BC1A-546BDA1E2D28}" dt="2019-10-17T14:19:19.051" v="87"/>
          <ac:spMkLst>
            <pc:docMk/>
            <pc:sldMk cId="3613377680" sldId="9788"/>
            <ac:spMk id="16" creationId="{F0EEB33F-2378-4FB7-8EC9-D1B65853DCCC}"/>
          </ac:spMkLst>
        </pc:spChg>
        <pc:graphicFrameChg chg="mod modGraphic">
          <ac:chgData name="Nicole Welch" userId="4bbf8b27-f36f-4029-b936-1f4b065af9e0" providerId="ADAL" clId="{BE3C291B-2B87-4F6F-BC1A-546BDA1E2D28}" dt="2019-10-18T15:29:00.506" v="413" actId="1076"/>
          <ac:graphicFrameMkLst>
            <pc:docMk/>
            <pc:sldMk cId="3613377680" sldId="9788"/>
            <ac:graphicFrameMk id="7" creationId="{271A7CC8-81DD-4A8B-8079-5DC14A06DE43}"/>
          </ac:graphicFrameMkLst>
        </pc:graphicFrameChg>
      </pc:sldChg>
      <pc:sldChg chg="modSp add">
        <pc:chgData name="Nicole Welch" userId="4bbf8b27-f36f-4029-b936-1f4b065af9e0" providerId="ADAL" clId="{BE3C291B-2B87-4F6F-BC1A-546BDA1E2D28}" dt="2019-10-17T14:38:45.922" v="207" actId="207"/>
        <pc:sldMkLst>
          <pc:docMk/>
          <pc:sldMk cId="180946361" sldId="9789"/>
        </pc:sldMkLst>
        <pc:spChg chg="mod">
          <ac:chgData name="Nicole Welch" userId="4bbf8b27-f36f-4029-b936-1f4b065af9e0" providerId="ADAL" clId="{BE3C291B-2B87-4F6F-BC1A-546BDA1E2D28}" dt="2019-10-17T14:38:45.922" v="207" actId="207"/>
          <ac:spMkLst>
            <pc:docMk/>
            <pc:sldMk cId="180946361" sldId="9789"/>
            <ac:spMk id="41" creationId="{2F1D7D66-F396-4195-8ABD-8B5CD25B9640}"/>
          </ac:spMkLst>
        </pc:spChg>
        <pc:grpChg chg="mod">
          <ac:chgData name="Nicole Welch" userId="4bbf8b27-f36f-4029-b936-1f4b065af9e0" providerId="ADAL" clId="{BE3C291B-2B87-4F6F-BC1A-546BDA1E2D28}" dt="2019-10-17T14:38:45.922" v="207" actId="207"/>
          <ac:grpSpMkLst>
            <pc:docMk/>
            <pc:sldMk cId="180946361" sldId="9789"/>
            <ac:grpSpMk id="4" creationId="{E45D4A84-0A36-421E-B97C-FAF1D1A5D12B}"/>
          </ac:grpSpMkLst>
        </pc:grpChg>
        <pc:picChg chg="mod">
          <ac:chgData name="Nicole Welch" userId="4bbf8b27-f36f-4029-b936-1f4b065af9e0" providerId="ADAL" clId="{BE3C291B-2B87-4F6F-BC1A-546BDA1E2D28}" dt="2019-10-17T14:38:39.826" v="206" actId="208"/>
          <ac:picMkLst>
            <pc:docMk/>
            <pc:sldMk cId="180946361" sldId="9789"/>
            <ac:picMk id="39" creationId="{9AE844EC-9C61-4AE3-97AB-88CEDE22FE44}"/>
          </ac:picMkLst>
        </pc:picChg>
      </pc:sldChg>
      <pc:sldChg chg="modSp add">
        <pc:chgData name="Nicole Welch" userId="4bbf8b27-f36f-4029-b936-1f4b065af9e0" providerId="ADAL" clId="{BE3C291B-2B87-4F6F-BC1A-546BDA1E2D28}" dt="2019-10-17T14:38:31.821" v="205" actId="208"/>
        <pc:sldMkLst>
          <pc:docMk/>
          <pc:sldMk cId="2868317392" sldId="9790"/>
        </pc:sldMkLst>
        <pc:spChg chg="mod">
          <ac:chgData name="Nicole Welch" userId="4bbf8b27-f36f-4029-b936-1f4b065af9e0" providerId="ADAL" clId="{BE3C291B-2B87-4F6F-BC1A-546BDA1E2D28}" dt="2019-10-17T14:38:29.278" v="204" actId="207"/>
          <ac:spMkLst>
            <pc:docMk/>
            <pc:sldMk cId="2868317392" sldId="9790"/>
            <ac:spMk id="51" creationId="{DF4527B0-2E3A-41C3-B0B4-FA79324BA8D2}"/>
          </ac:spMkLst>
        </pc:spChg>
        <pc:grpChg chg="mod">
          <ac:chgData name="Nicole Welch" userId="4bbf8b27-f36f-4029-b936-1f4b065af9e0" providerId="ADAL" clId="{BE3C291B-2B87-4F6F-BC1A-546BDA1E2D28}" dt="2019-10-17T14:38:29.278" v="204" actId="207"/>
          <ac:grpSpMkLst>
            <pc:docMk/>
            <pc:sldMk cId="2868317392" sldId="9790"/>
            <ac:grpSpMk id="46" creationId="{E94DB9B4-823A-4B85-A244-A8F4A23B4439}"/>
          </ac:grpSpMkLst>
        </pc:grpChg>
        <pc:picChg chg="mod">
          <ac:chgData name="Nicole Welch" userId="4bbf8b27-f36f-4029-b936-1f4b065af9e0" providerId="ADAL" clId="{BE3C291B-2B87-4F6F-BC1A-546BDA1E2D28}" dt="2019-10-17T14:38:31.821" v="205" actId="208"/>
          <ac:picMkLst>
            <pc:docMk/>
            <pc:sldMk cId="2868317392" sldId="9790"/>
            <ac:picMk id="50" creationId="{2612D4C5-8439-45D1-9BB2-7D9F79D3097D}"/>
          </ac:picMkLst>
        </pc:picChg>
      </pc:sldChg>
      <pc:sldChg chg="modSp add">
        <pc:chgData name="Nicole Welch" userId="4bbf8b27-f36f-4029-b936-1f4b065af9e0" providerId="ADAL" clId="{BE3C291B-2B87-4F6F-BC1A-546BDA1E2D28}" dt="2019-10-17T14:37:41.090" v="184" actId="208"/>
        <pc:sldMkLst>
          <pc:docMk/>
          <pc:sldMk cId="2710250062" sldId="9791"/>
        </pc:sldMkLst>
        <pc:spChg chg="mod">
          <ac:chgData name="Nicole Welch" userId="4bbf8b27-f36f-4029-b936-1f4b065af9e0" providerId="ADAL" clId="{BE3C291B-2B87-4F6F-BC1A-546BDA1E2D28}" dt="2019-10-17T14:37:41.090" v="184" actId="208"/>
          <ac:spMkLst>
            <pc:docMk/>
            <pc:sldMk cId="2710250062" sldId="9791"/>
            <ac:spMk id="27" creationId="{009E9A6C-F682-4DEB-B444-7E16A916852F}"/>
          </ac:spMkLst>
        </pc:spChg>
        <pc:spChg chg="mod">
          <ac:chgData name="Nicole Welch" userId="4bbf8b27-f36f-4029-b936-1f4b065af9e0" providerId="ADAL" clId="{BE3C291B-2B87-4F6F-BC1A-546BDA1E2D28}" dt="2019-10-17T14:37:34.331" v="183" actId="1037"/>
          <ac:spMkLst>
            <pc:docMk/>
            <pc:sldMk cId="2710250062" sldId="9791"/>
            <ac:spMk id="29" creationId="{6C05D993-E837-4C98-92E6-FF8FAB1D1CE5}"/>
          </ac:spMkLst>
        </pc:spChg>
        <pc:spChg chg="mod">
          <ac:chgData name="Nicole Welch" userId="4bbf8b27-f36f-4029-b936-1f4b065af9e0" providerId="ADAL" clId="{BE3C291B-2B87-4F6F-BC1A-546BDA1E2D28}" dt="2019-10-17T14:37:26.143" v="175" actId="207"/>
          <ac:spMkLst>
            <pc:docMk/>
            <pc:sldMk cId="2710250062" sldId="9791"/>
            <ac:spMk id="44" creationId="{20ACC074-E790-47E8-95B1-BB3E50C1461E}"/>
          </ac:spMkLst>
        </pc:spChg>
        <pc:grpChg chg="mod">
          <ac:chgData name="Nicole Welch" userId="4bbf8b27-f36f-4029-b936-1f4b065af9e0" providerId="ADAL" clId="{BE3C291B-2B87-4F6F-BC1A-546BDA1E2D28}" dt="2019-10-17T14:37:26.143" v="175" actId="207"/>
          <ac:grpSpMkLst>
            <pc:docMk/>
            <pc:sldMk cId="2710250062" sldId="9791"/>
            <ac:grpSpMk id="5" creationId="{C3C64DCE-D1A2-4926-B12E-696C32867564}"/>
          </ac:grpSpMkLst>
        </pc:grpChg>
      </pc:sldChg>
      <pc:sldChg chg="addSp delSp modSp new mod modClrScheme chgLayout">
        <pc:chgData name="Nicole Welch" userId="4bbf8b27-f36f-4029-b936-1f4b065af9e0" providerId="ADAL" clId="{BE3C291B-2B87-4F6F-BC1A-546BDA1E2D28}" dt="2019-10-17T19:34:12.468" v="317" actId="20577"/>
        <pc:sldMkLst>
          <pc:docMk/>
          <pc:sldMk cId="634043218" sldId="9792"/>
        </pc:sldMkLst>
        <pc:spChg chg="del mod ord">
          <ac:chgData name="Nicole Welch" userId="4bbf8b27-f36f-4029-b936-1f4b065af9e0" providerId="ADAL" clId="{BE3C291B-2B87-4F6F-BC1A-546BDA1E2D28}" dt="2019-10-17T19:34:09.706" v="313" actId="700"/>
          <ac:spMkLst>
            <pc:docMk/>
            <pc:sldMk cId="634043218" sldId="9792"/>
            <ac:spMk id="2" creationId="{9A14A71F-D4BA-4CC9-BA64-32F108A361F1}"/>
          </ac:spMkLst>
        </pc:spChg>
        <pc:spChg chg="del mod ord">
          <ac:chgData name="Nicole Welch" userId="4bbf8b27-f36f-4029-b936-1f4b065af9e0" providerId="ADAL" clId="{BE3C291B-2B87-4F6F-BC1A-546BDA1E2D28}" dt="2019-10-17T19:34:09.706" v="313" actId="700"/>
          <ac:spMkLst>
            <pc:docMk/>
            <pc:sldMk cId="634043218" sldId="9792"/>
            <ac:spMk id="3" creationId="{F71613D1-D069-45B5-90BC-33AE0569EFB5}"/>
          </ac:spMkLst>
        </pc:spChg>
        <pc:spChg chg="add mod ord">
          <ac:chgData name="Nicole Welch" userId="4bbf8b27-f36f-4029-b936-1f4b065af9e0" providerId="ADAL" clId="{BE3C291B-2B87-4F6F-BC1A-546BDA1E2D28}" dt="2019-10-17T19:34:12.468" v="317" actId="20577"/>
          <ac:spMkLst>
            <pc:docMk/>
            <pc:sldMk cId="634043218" sldId="9792"/>
            <ac:spMk id="4" creationId="{016761D1-F1A4-40B7-9DA7-42E2E7614744}"/>
          </ac:spMkLst>
        </pc:spChg>
        <pc:spChg chg="add mod ord">
          <ac:chgData name="Nicole Welch" userId="4bbf8b27-f36f-4029-b936-1f4b065af9e0" providerId="ADAL" clId="{BE3C291B-2B87-4F6F-BC1A-546BDA1E2D28}" dt="2019-10-17T19:34:09.706" v="313" actId="700"/>
          <ac:spMkLst>
            <pc:docMk/>
            <pc:sldMk cId="634043218" sldId="9792"/>
            <ac:spMk id="5" creationId="{E73F3586-7F3E-407B-BD80-4C19B161078C}"/>
          </ac:spMkLst>
        </pc:spChg>
      </pc:sldChg>
      <pc:sldChg chg="add">
        <pc:chgData name="Nicole Welch" userId="4bbf8b27-f36f-4029-b936-1f4b065af9e0" providerId="ADAL" clId="{BE3C291B-2B87-4F6F-BC1A-546BDA1E2D28}" dt="2019-10-17T19:35:36.912" v="345"/>
        <pc:sldMkLst>
          <pc:docMk/>
          <pc:sldMk cId="105471669" sldId="9793"/>
        </pc:sldMkLst>
      </pc:sldChg>
      <pc:sldChg chg="add">
        <pc:chgData name="Nicole Welch" userId="4bbf8b27-f36f-4029-b936-1f4b065af9e0" providerId="ADAL" clId="{BE3C291B-2B87-4F6F-BC1A-546BDA1E2D28}" dt="2019-10-17T19:35:44.689" v="346"/>
        <pc:sldMkLst>
          <pc:docMk/>
          <pc:sldMk cId="1640407013" sldId="9794"/>
        </pc:sldMkLst>
      </pc:sldChg>
      <pc:sldChg chg="add">
        <pc:chgData name="Nicole Welch" userId="4bbf8b27-f36f-4029-b936-1f4b065af9e0" providerId="ADAL" clId="{BE3C291B-2B87-4F6F-BC1A-546BDA1E2D28}" dt="2019-10-17T19:35:51.262" v="347"/>
        <pc:sldMkLst>
          <pc:docMk/>
          <pc:sldMk cId="483525094" sldId="9795"/>
        </pc:sldMkLst>
      </pc:sldChg>
      <pc:sldChg chg="delSp add">
        <pc:chgData name="Nicole Welch" userId="4bbf8b27-f36f-4029-b936-1f4b065af9e0" providerId="ADAL" clId="{BE3C291B-2B87-4F6F-BC1A-546BDA1E2D28}" dt="2019-10-23T18:22:49.297" v="461" actId="478"/>
        <pc:sldMkLst>
          <pc:docMk/>
          <pc:sldMk cId="326833065" sldId="9796"/>
        </pc:sldMkLst>
        <pc:spChg chg="del">
          <ac:chgData name="Nicole Welch" userId="4bbf8b27-f36f-4029-b936-1f4b065af9e0" providerId="ADAL" clId="{BE3C291B-2B87-4F6F-BC1A-546BDA1E2D28}" dt="2019-10-23T18:22:49.297" v="461" actId="478"/>
          <ac:spMkLst>
            <pc:docMk/>
            <pc:sldMk cId="326833065" sldId="9796"/>
            <ac:spMk id="5" creationId="{E73F3586-7F3E-407B-BD80-4C19B161078C}"/>
          </ac:spMkLst>
        </pc:spChg>
      </pc:sldChg>
      <pc:sldChg chg="addSp delSp modSp add del">
        <pc:chgData name="Nicole Welch" userId="4bbf8b27-f36f-4029-b936-1f4b065af9e0" providerId="ADAL" clId="{BE3C291B-2B87-4F6F-BC1A-546BDA1E2D28}" dt="2019-10-23T15:19:00.128" v="438" actId="47"/>
        <pc:sldMkLst>
          <pc:docMk/>
          <pc:sldMk cId="1498655651" sldId="9797"/>
        </pc:sldMkLst>
        <pc:graphicFrameChg chg="add del">
          <ac:chgData name="Nicole Welch" userId="4bbf8b27-f36f-4029-b936-1f4b065af9e0" providerId="ADAL" clId="{BE3C291B-2B87-4F6F-BC1A-546BDA1E2D28}" dt="2019-10-23T15:18:47.468" v="436"/>
          <ac:graphicFrameMkLst>
            <pc:docMk/>
            <pc:sldMk cId="1498655651" sldId="9797"/>
            <ac:graphicFrameMk id="2" creationId="{C516B277-F153-49A4-A2E6-031D78196C44}"/>
          </ac:graphicFrameMkLst>
        </pc:graphicFrameChg>
        <pc:graphicFrameChg chg="modGraphic">
          <ac:chgData name="Nicole Welch" userId="4bbf8b27-f36f-4029-b936-1f4b065af9e0" providerId="ADAL" clId="{BE3C291B-2B87-4F6F-BC1A-546BDA1E2D28}" dt="2019-10-18T15:37:00.069" v="415" actId="400"/>
          <ac:graphicFrameMkLst>
            <pc:docMk/>
            <pc:sldMk cId="1498655651" sldId="9797"/>
            <ac:graphicFrameMk id="7" creationId="{271A7CC8-81DD-4A8B-8079-5DC14A06DE43}"/>
          </ac:graphicFrameMkLst>
        </pc:graphicFrameChg>
      </pc:sldChg>
      <pc:sldChg chg="modSp add">
        <pc:chgData name="Nicole Welch" userId="4bbf8b27-f36f-4029-b936-1f4b065af9e0" providerId="ADAL" clId="{BE3C291B-2B87-4F6F-BC1A-546BDA1E2D28}" dt="2019-10-18T15:38:07.907" v="417" actId="400"/>
        <pc:sldMkLst>
          <pc:docMk/>
          <pc:sldMk cId="3028288872" sldId="9798"/>
        </pc:sldMkLst>
        <pc:graphicFrameChg chg="modGraphic">
          <ac:chgData name="Nicole Welch" userId="4bbf8b27-f36f-4029-b936-1f4b065af9e0" providerId="ADAL" clId="{BE3C291B-2B87-4F6F-BC1A-546BDA1E2D28}" dt="2019-10-18T15:38:07.907" v="417" actId="400"/>
          <ac:graphicFrameMkLst>
            <pc:docMk/>
            <pc:sldMk cId="3028288872" sldId="9798"/>
            <ac:graphicFrameMk id="7" creationId="{271A7CC8-81DD-4A8B-8079-5DC14A06DE43}"/>
          </ac:graphicFrameMkLst>
        </pc:graphicFrameChg>
      </pc:sldChg>
      <pc:sldChg chg="delSp modSp add setBg delDesignElem">
        <pc:chgData name="Nicole Welch" userId="4bbf8b27-f36f-4029-b936-1f4b065af9e0" providerId="ADAL" clId="{BE3C291B-2B87-4F6F-BC1A-546BDA1E2D28}" dt="2019-10-23T15:18:29.226" v="432" actId="400"/>
        <pc:sldMkLst>
          <pc:docMk/>
          <pc:sldMk cId="1613906558" sldId="9799"/>
        </pc:sldMkLst>
        <pc:spChg chg="del">
          <ac:chgData name="Nicole Welch" userId="4bbf8b27-f36f-4029-b936-1f4b065af9e0" providerId="ADAL" clId="{BE3C291B-2B87-4F6F-BC1A-546BDA1E2D28}" dt="2019-10-23T15:18:17.678" v="430"/>
          <ac:spMkLst>
            <pc:docMk/>
            <pc:sldMk cId="1613906558" sldId="9799"/>
            <ac:spMk id="12" creationId="{27810DC0-66C7-4366-88EA-6E664FD3C54B}"/>
          </ac:spMkLst>
        </pc:spChg>
        <pc:spChg chg="del">
          <ac:chgData name="Nicole Welch" userId="4bbf8b27-f36f-4029-b936-1f4b065af9e0" providerId="ADAL" clId="{BE3C291B-2B87-4F6F-BC1A-546BDA1E2D28}" dt="2019-10-23T15:18:17.678" v="430"/>
          <ac:spMkLst>
            <pc:docMk/>
            <pc:sldMk cId="1613906558" sldId="9799"/>
            <ac:spMk id="14" creationId="{042D072A-532A-416F-8B5A-995223B6FF42}"/>
          </ac:spMkLst>
        </pc:spChg>
        <pc:spChg chg="del">
          <ac:chgData name="Nicole Welch" userId="4bbf8b27-f36f-4029-b936-1f4b065af9e0" providerId="ADAL" clId="{BE3C291B-2B87-4F6F-BC1A-546BDA1E2D28}" dt="2019-10-23T15:18:17.678" v="430"/>
          <ac:spMkLst>
            <pc:docMk/>
            <pc:sldMk cId="1613906558" sldId="9799"/>
            <ac:spMk id="16" creationId="{F0EEB33F-2378-4FB7-8EC9-D1B65853DCCC}"/>
          </ac:spMkLst>
        </pc:spChg>
        <pc:graphicFrameChg chg="modGraphic">
          <ac:chgData name="Nicole Welch" userId="4bbf8b27-f36f-4029-b936-1f4b065af9e0" providerId="ADAL" clId="{BE3C291B-2B87-4F6F-BC1A-546BDA1E2D28}" dt="2019-10-23T15:18:29.226" v="432" actId="400"/>
          <ac:graphicFrameMkLst>
            <pc:docMk/>
            <pc:sldMk cId="1613906558" sldId="9799"/>
            <ac:graphicFrameMk id="7" creationId="{271A7CC8-81DD-4A8B-8079-5DC14A06DE43}"/>
          </ac:graphicFrameMkLst>
        </pc:graphicFrameChg>
      </pc:sldChg>
      <pc:sldChg chg="modSp add">
        <pc:chgData name="Nicole Welch" userId="4bbf8b27-f36f-4029-b936-1f4b065af9e0" providerId="ADAL" clId="{BE3C291B-2B87-4F6F-BC1A-546BDA1E2D28}" dt="2019-10-23T16:28:58.372" v="443" actId="400"/>
        <pc:sldMkLst>
          <pc:docMk/>
          <pc:sldMk cId="3082766770" sldId="9800"/>
        </pc:sldMkLst>
        <pc:graphicFrameChg chg="modGraphic">
          <ac:chgData name="Nicole Welch" userId="4bbf8b27-f36f-4029-b936-1f4b065af9e0" providerId="ADAL" clId="{BE3C291B-2B87-4F6F-BC1A-546BDA1E2D28}" dt="2019-10-23T16:28:58.372" v="443" actId="400"/>
          <ac:graphicFrameMkLst>
            <pc:docMk/>
            <pc:sldMk cId="3082766770" sldId="9800"/>
            <ac:graphicFrameMk id="7" creationId="{271A7CC8-81DD-4A8B-8079-5DC14A06DE43}"/>
          </ac:graphicFrameMkLst>
        </pc:graphicFrameChg>
      </pc:sldChg>
      <pc:sldChg chg="modSp add">
        <pc:chgData name="Nicole Welch" userId="4bbf8b27-f36f-4029-b936-1f4b065af9e0" providerId="ADAL" clId="{BE3C291B-2B87-4F6F-BC1A-546BDA1E2D28}" dt="2019-10-23T18:29:11.979" v="464" actId="1036"/>
        <pc:sldMkLst>
          <pc:docMk/>
          <pc:sldMk cId="3978922434" sldId="9801"/>
        </pc:sldMkLst>
        <pc:graphicFrameChg chg="mod modGraphic">
          <ac:chgData name="Nicole Welch" userId="4bbf8b27-f36f-4029-b936-1f4b065af9e0" providerId="ADAL" clId="{BE3C291B-2B87-4F6F-BC1A-546BDA1E2D28}" dt="2019-10-23T18:29:11.979" v="464" actId="1036"/>
          <ac:graphicFrameMkLst>
            <pc:docMk/>
            <pc:sldMk cId="3978922434" sldId="9801"/>
            <ac:graphicFrameMk id="7" creationId="{271A7CC8-81DD-4A8B-8079-5DC14A06DE43}"/>
          </ac:graphicFrameMkLst>
        </pc:graphicFrameChg>
      </pc:sldChg>
      <pc:sldMasterChg chg="delSldLayout">
        <pc:chgData name="Nicole Welch" userId="4bbf8b27-f36f-4029-b936-1f4b065af9e0" providerId="ADAL" clId="{BE3C291B-2B87-4F6F-BC1A-546BDA1E2D28}" dt="2019-10-17T19:33:59.956" v="311" actId="47"/>
        <pc:sldMasterMkLst>
          <pc:docMk/>
          <pc:sldMasterMk cId="2103179724" sldId="2147483997"/>
        </pc:sldMasterMkLst>
        <pc:sldLayoutChg chg="del">
          <pc:chgData name="Nicole Welch" userId="4bbf8b27-f36f-4029-b936-1f4b065af9e0" providerId="ADAL" clId="{BE3C291B-2B87-4F6F-BC1A-546BDA1E2D28}" dt="2019-10-17T19:33:59.956" v="311" actId="47"/>
          <pc:sldLayoutMkLst>
            <pc:docMk/>
            <pc:sldMasterMk cId="2103179724" sldId="2147483997"/>
            <pc:sldLayoutMk cId="1903511029" sldId="2147484030"/>
          </pc:sldLayoutMkLst>
        </pc:sldLayoutChg>
        <pc:sldLayoutChg chg="del">
          <pc:chgData name="Nicole Welch" userId="4bbf8b27-f36f-4029-b936-1f4b065af9e0" providerId="ADAL" clId="{BE3C291B-2B87-4F6F-BC1A-546BDA1E2D28}" dt="2019-10-17T19:33:33.281" v="306" actId="47"/>
          <pc:sldLayoutMkLst>
            <pc:docMk/>
            <pc:sldMasterMk cId="2103179724" sldId="2147483997"/>
            <pc:sldLayoutMk cId="3539771130" sldId="2147484031"/>
          </pc:sldLayoutMkLst>
        </pc:sldLayoutChg>
      </pc:sldMasterChg>
    </pc:docChg>
  </pc:docChgLst>
</pc:chgInfo>
</file>

<file path=ppt/diagrams/_rels/data3.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svg"/><Relationship Id="rId1" Type="http://schemas.openxmlformats.org/officeDocument/2006/relationships/image" Target="../media/image67.png"/><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s>
</file>

<file path=ppt/diagrams/_rels/data4.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svg"/><Relationship Id="rId7" Type="http://schemas.openxmlformats.org/officeDocument/2006/relationships/image" Target="../media/image82.svg"/><Relationship Id="rId2" Type="http://schemas.openxmlformats.org/officeDocument/2006/relationships/image" Target="../media/image77.png"/><Relationship Id="rId1" Type="http://schemas.openxmlformats.org/officeDocument/2006/relationships/hyperlink" Target="https://docs.microsoft.com/en-us/azure/role-based-access-control/elevate-access-global-admin" TargetMode="External"/><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image" Target="../media/image80.sv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svg"/></Relationships>
</file>

<file path=ppt/diagrams/_rels/data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svg"/><Relationship Id="rId1" Type="http://schemas.openxmlformats.org/officeDocument/2006/relationships/image" Target="../media/image96.png"/><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diagrams/_rels/drawing3.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svg"/><Relationship Id="rId1" Type="http://schemas.openxmlformats.org/officeDocument/2006/relationships/image" Target="../media/image67.png"/><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s>
</file>

<file path=ppt/diagrams/_rels/drawing4.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9.png"/><Relationship Id="rId7" Type="http://schemas.openxmlformats.org/officeDocument/2006/relationships/image" Target="../media/image82.svg"/><Relationship Id="rId2" Type="http://schemas.openxmlformats.org/officeDocument/2006/relationships/image" Target="../media/image78.svg"/><Relationship Id="rId1" Type="http://schemas.openxmlformats.org/officeDocument/2006/relationships/image" Target="../media/image77.png"/><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hyperlink" Target="https://docs.microsoft.com/en-us/azure/role-based-access-control/elevate-access-global-admin" TargetMode="External"/><Relationship Id="rId10" Type="http://schemas.openxmlformats.org/officeDocument/2006/relationships/image" Target="../media/image85.png"/><Relationship Id="rId4" Type="http://schemas.openxmlformats.org/officeDocument/2006/relationships/image" Target="../media/image80.svg"/><Relationship Id="rId9" Type="http://schemas.openxmlformats.org/officeDocument/2006/relationships/image" Target="../media/image84.svg"/></Relationships>
</file>

<file path=ppt/diagrams/_rels/drawing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svg"/><Relationship Id="rId1" Type="http://schemas.openxmlformats.org/officeDocument/2006/relationships/image" Target="../media/image96.png"/><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icontext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dgm:fillClrLst>
    <dgm:linClrLst meth="repeat">
      <a:schemeClr val="lt1">
        <a:alpha val="0"/>
      </a:schemeClr>
    </dgm:linClrLst>
    <dgm:effectClrLst/>
    <dgm:txLinClrLst/>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icontext_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dgm:fillClrLst>
    <dgm:linClrLst meth="repeat">
      <a:schemeClr val="lt1">
        <a:alpha val="0"/>
      </a:schemeClr>
    </dgm:linClrLst>
    <dgm:effectClrLst/>
    <dgm:txLinClrLst/>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solidFill>
                <a:schemeClr val="bg1"/>
              </a:solidFill>
            </a:rPr>
            <a:t>Cloud Sprawl -&gt; </a:t>
          </a:r>
          <a:r>
            <a:rPr lang="en-US" sz="1500" dirty="0">
              <a:solidFill>
                <a:schemeClr val="bg1"/>
              </a:solidFill>
            </a:rPr>
            <a:t>Increased complexity in managing standard, accountability, compliance, consistent architecture &amp; cost -&gt; </a:t>
          </a:r>
        </a:p>
        <a:p>
          <a:pPr algn="ctr"/>
          <a:r>
            <a:rPr lang="en-US" sz="1600" b="1" dirty="0">
              <a:solidFill>
                <a:schemeClr val="bg1"/>
              </a:solidFill>
            </a:rPr>
            <a:t>at Scale</a:t>
          </a:r>
          <a:endParaRPr lang="en-US" sz="1500" b="1" dirty="0">
            <a:solidFill>
              <a:schemeClr val="bg1"/>
            </a:solidFill>
          </a:endParaRPr>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9CD254-33C3-49A4-8070-9AA2DBCC70DB}"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FC8DC153-972E-461C-AE19-80DA44B22FB1}">
      <dgm:prSet phldrT="[Text]" custT="1"/>
      <dgm:spPr>
        <a:solidFill>
          <a:schemeClr val="accent3">
            <a:lumMod val="20000"/>
            <a:lumOff val="80000"/>
          </a:schemeClr>
        </a:solidFill>
      </dgm:spPr>
      <dgm:t>
        <a:bodyPr anchor="t"/>
        <a:lstStyle/>
        <a:p>
          <a:pPr algn="ctr"/>
          <a:r>
            <a:rPr lang="en-US" sz="1600" dirty="0">
              <a:solidFill>
                <a:schemeClr val="accent4"/>
              </a:solidFill>
            </a:rPr>
            <a:t>Account C</a:t>
          </a:r>
        </a:p>
      </dgm:t>
    </dgm:pt>
    <dgm:pt modelId="{8728FFFD-65B5-46F4-B73B-39F1B143636C}" type="parTrans" cxnId="{B1CF37C9-0EE6-4AA2-BF82-80170340F696}">
      <dgm:prSet/>
      <dgm:spPr>
        <a:noFill/>
        <a:ln>
          <a:noFill/>
        </a:ln>
      </dgm:spPr>
      <dgm:t>
        <a:bodyPr/>
        <a:lstStyle/>
        <a:p>
          <a:pPr algn="ctr"/>
          <a:endParaRPr lang="en-US"/>
        </a:p>
      </dgm:t>
    </dgm:pt>
    <dgm:pt modelId="{32E35D9A-8879-41E1-8087-DEDBF802307B}" type="sibTrans" cxnId="{B1CF37C9-0EE6-4AA2-BF82-80170340F696}">
      <dgm:prSet/>
      <dgm:spPr/>
      <dgm:t>
        <a:bodyPr/>
        <a:lstStyle/>
        <a:p>
          <a:pPr algn="ctr"/>
          <a:endParaRPr lang="en-US"/>
        </a:p>
      </dgm:t>
    </dgm:pt>
    <dgm:pt modelId="{705B1C81-DD37-411A-B5F1-43361FADEC30}">
      <dgm:prSet phldrT="[Text]" custT="1"/>
      <dgm:spPr>
        <a:solidFill>
          <a:schemeClr val="bg1">
            <a:lumMod val="75000"/>
          </a:schemeClr>
        </a:solidFill>
      </dgm:spPr>
      <dgm:t>
        <a:bodyPr anchor="t"/>
        <a:lstStyle/>
        <a:p>
          <a:pPr algn="ctr"/>
          <a:r>
            <a:rPr lang="en-US" sz="1200" dirty="0"/>
            <a:t>Subscription 5</a:t>
          </a:r>
        </a:p>
      </dgm:t>
    </dgm:pt>
    <dgm:pt modelId="{3D0B96AF-51A7-48FC-8C13-6610AB8C3F5B}" type="parTrans" cxnId="{90FD93A4-7685-482E-A0FE-4551AA6B632B}">
      <dgm:prSet/>
      <dgm:spPr/>
      <dgm:t>
        <a:bodyPr/>
        <a:lstStyle/>
        <a:p>
          <a:pPr algn="ctr"/>
          <a:endParaRPr lang="en-US"/>
        </a:p>
      </dgm:t>
    </dgm:pt>
    <dgm:pt modelId="{2BCCEA03-5463-433C-BC33-B251DEC91225}" type="sibTrans" cxnId="{90FD93A4-7685-482E-A0FE-4551AA6B632B}">
      <dgm:prSet/>
      <dgm:spPr/>
      <dgm:t>
        <a:bodyPr/>
        <a:lstStyle/>
        <a:p>
          <a:pPr algn="ctr"/>
          <a:endParaRPr lang="en-US"/>
        </a:p>
      </dgm:t>
    </dgm:pt>
    <dgm:pt modelId="{CE18C925-A2CF-41C7-A2C2-B8AA38902274}" type="asst">
      <dgm:prSet phldrT="[Text]" custT="1"/>
      <dgm:spPr>
        <a:solidFill>
          <a:schemeClr val="accent3">
            <a:lumMod val="20000"/>
            <a:lumOff val="80000"/>
          </a:schemeClr>
        </a:solidFill>
      </dgm:spPr>
      <dgm:t>
        <a:bodyPr anchor="t"/>
        <a:lstStyle/>
        <a:p>
          <a:pPr algn="ctr"/>
          <a:r>
            <a:rPr lang="en-US" sz="1600" dirty="0">
              <a:solidFill>
                <a:schemeClr val="accent4"/>
              </a:solidFill>
            </a:rPr>
            <a:t>Account A</a:t>
          </a:r>
        </a:p>
      </dgm:t>
    </dgm:pt>
    <dgm:pt modelId="{4CC16CE6-E831-4CC0-BA2F-DEBE10F8722F}" type="parTrans" cxnId="{7D4B3F07-BC28-4161-B959-C04D74C2E8A2}">
      <dgm:prSet/>
      <dgm:spPr/>
      <dgm:t>
        <a:bodyPr/>
        <a:lstStyle/>
        <a:p>
          <a:endParaRPr lang="en-US"/>
        </a:p>
      </dgm:t>
    </dgm:pt>
    <dgm:pt modelId="{96CA627F-8BA4-42F2-AF11-BBDCC971BB5E}" type="sibTrans" cxnId="{7D4B3F07-BC28-4161-B959-C04D74C2E8A2}">
      <dgm:prSet/>
      <dgm:spPr/>
      <dgm:t>
        <a:bodyPr/>
        <a:lstStyle/>
        <a:p>
          <a:endParaRPr lang="en-US"/>
        </a:p>
      </dgm:t>
    </dgm:pt>
    <dgm:pt modelId="{28591FDF-E0F7-4C45-BB91-AD6F3AF6603E}" type="asst">
      <dgm:prSet phldrT="[Text]" custT="1"/>
      <dgm:spPr>
        <a:solidFill>
          <a:schemeClr val="accent3">
            <a:lumMod val="20000"/>
            <a:lumOff val="80000"/>
          </a:schemeClr>
        </a:solidFill>
      </dgm:spPr>
      <dgm:t>
        <a:bodyPr anchor="t"/>
        <a:lstStyle/>
        <a:p>
          <a:pPr algn="ctr"/>
          <a:r>
            <a:rPr lang="en-US" sz="1600" dirty="0">
              <a:solidFill>
                <a:schemeClr val="accent4"/>
              </a:solidFill>
            </a:rPr>
            <a:t>Account B</a:t>
          </a:r>
        </a:p>
      </dgm:t>
    </dgm:pt>
    <dgm:pt modelId="{D876A9BE-A67C-42C0-B0A1-A72AA1EE100D}" type="parTrans" cxnId="{E502A7C6-75EE-42AB-83EB-115C7B03F9BE}">
      <dgm:prSet/>
      <dgm:spPr/>
      <dgm:t>
        <a:bodyPr/>
        <a:lstStyle/>
        <a:p>
          <a:endParaRPr lang="en-US"/>
        </a:p>
      </dgm:t>
    </dgm:pt>
    <dgm:pt modelId="{16B4C8B0-A56C-4920-8985-08F6C315A1CE}" type="sibTrans" cxnId="{E502A7C6-75EE-42AB-83EB-115C7B03F9BE}">
      <dgm:prSet/>
      <dgm:spPr/>
      <dgm:t>
        <a:bodyPr/>
        <a:lstStyle/>
        <a:p>
          <a:endParaRPr lang="en-US"/>
        </a:p>
      </dgm:t>
    </dgm:pt>
    <dgm:pt modelId="{4832C99C-7B61-41A6-9EB3-783CA000E16A}" type="asst">
      <dgm:prSet phldrT="[Text]" custT="1"/>
      <dgm:spPr>
        <a:solidFill>
          <a:schemeClr val="bg1">
            <a:lumMod val="75000"/>
          </a:schemeClr>
        </a:solidFill>
      </dgm:spPr>
      <dgm:t>
        <a:bodyPr anchor="t"/>
        <a:lstStyle/>
        <a:p>
          <a:pPr algn="ctr"/>
          <a:r>
            <a:rPr lang="en-US" sz="1200" dirty="0"/>
            <a:t>Subscription 1</a:t>
          </a:r>
        </a:p>
      </dgm:t>
    </dgm:pt>
    <dgm:pt modelId="{89EE65B0-2347-4A9D-BBFC-D22402E6060F}" type="parTrans" cxnId="{D9CCBC00-DFBE-4B7C-A275-E737F2283AF6}">
      <dgm:prSet/>
      <dgm:spPr/>
      <dgm:t>
        <a:bodyPr/>
        <a:lstStyle/>
        <a:p>
          <a:endParaRPr lang="en-US"/>
        </a:p>
      </dgm:t>
    </dgm:pt>
    <dgm:pt modelId="{8AF3FB08-E571-43D7-81B0-2F9BD71329FD}" type="sibTrans" cxnId="{D9CCBC00-DFBE-4B7C-A275-E737F2283AF6}">
      <dgm:prSet/>
      <dgm:spPr/>
      <dgm:t>
        <a:bodyPr/>
        <a:lstStyle/>
        <a:p>
          <a:endParaRPr lang="en-US"/>
        </a:p>
      </dgm:t>
    </dgm:pt>
    <dgm:pt modelId="{5FDBCFCA-D236-48E5-A26E-0C3BB411297C}" type="asst">
      <dgm:prSet phldrT="[Text]" custT="1"/>
      <dgm:spPr>
        <a:solidFill>
          <a:schemeClr val="bg1">
            <a:lumMod val="75000"/>
          </a:schemeClr>
        </a:solidFill>
      </dgm:spPr>
      <dgm:t>
        <a:bodyPr anchor="t"/>
        <a:lstStyle/>
        <a:p>
          <a:pPr algn="ctr"/>
          <a:r>
            <a:rPr lang="en-US" sz="1200" dirty="0"/>
            <a:t>Subscription 2</a:t>
          </a:r>
        </a:p>
      </dgm:t>
    </dgm:pt>
    <dgm:pt modelId="{DC818D94-CE74-49D3-A51E-517674F5614A}" type="parTrans" cxnId="{C03F83AA-1CBE-4212-A3E9-C3208503BF49}">
      <dgm:prSet/>
      <dgm:spPr/>
      <dgm:t>
        <a:bodyPr/>
        <a:lstStyle/>
        <a:p>
          <a:endParaRPr lang="en-US"/>
        </a:p>
      </dgm:t>
    </dgm:pt>
    <dgm:pt modelId="{24ADBA3B-8194-41C4-BCFE-CE3F6F252382}" type="sibTrans" cxnId="{C03F83AA-1CBE-4212-A3E9-C3208503BF49}">
      <dgm:prSet/>
      <dgm:spPr/>
      <dgm:t>
        <a:bodyPr/>
        <a:lstStyle/>
        <a:p>
          <a:endParaRPr lang="en-US"/>
        </a:p>
      </dgm:t>
    </dgm:pt>
    <dgm:pt modelId="{ADE8C91E-A696-4B68-800F-4C12DD992C99}" type="asst">
      <dgm:prSet phldrT="[Text]" custT="1"/>
      <dgm:spPr>
        <a:solidFill>
          <a:schemeClr val="bg1">
            <a:lumMod val="75000"/>
          </a:schemeClr>
        </a:solidFill>
      </dgm:spPr>
      <dgm:t>
        <a:bodyPr anchor="t"/>
        <a:lstStyle/>
        <a:p>
          <a:pPr algn="ctr"/>
          <a:r>
            <a:rPr lang="en-US" sz="1200" dirty="0"/>
            <a:t>Subscription 3</a:t>
          </a:r>
        </a:p>
      </dgm:t>
    </dgm:pt>
    <dgm:pt modelId="{8C6BF9EE-AE53-447C-8869-7805FFB0EDEB}" type="parTrans" cxnId="{7E47A020-4784-4694-8C43-A2C00B9B95B3}">
      <dgm:prSet/>
      <dgm:spPr/>
      <dgm:t>
        <a:bodyPr/>
        <a:lstStyle/>
        <a:p>
          <a:endParaRPr lang="en-US"/>
        </a:p>
      </dgm:t>
    </dgm:pt>
    <dgm:pt modelId="{86809FB3-0976-4036-B9EB-E673D64842E8}" type="sibTrans" cxnId="{7E47A020-4784-4694-8C43-A2C00B9B95B3}">
      <dgm:prSet/>
      <dgm:spPr/>
      <dgm:t>
        <a:bodyPr/>
        <a:lstStyle/>
        <a:p>
          <a:endParaRPr lang="en-US"/>
        </a:p>
      </dgm:t>
    </dgm:pt>
    <dgm:pt modelId="{CEEB9047-7F8B-4B42-B8FA-5E6F2ABAA0B3}">
      <dgm:prSet phldrT="[Text]" custT="1"/>
      <dgm:spPr>
        <a:solidFill>
          <a:schemeClr val="accent6">
            <a:lumMod val="60000"/>
            <a:lumOff val="40000"/>
          </a:schemeClr>
        </a:solidFill>
      </dgm:spPr>
      <dgm:t>
        <a:bodyPr anchor="t"/>
        <a:lstStyle/>
        <a:p>
          <a:pPr algn="ctr"/>
          <a:r>
            <a:rPr lang="en-US" sz="2000" dirty="0"/>
            <a:t>Enrollment</a:t>
          </a:r>
        </a:p>
      </dgm:t>
    </dgm:pt>
    <dgm:pt modelId="{E9DAB84B-6456-4835-AED3-3CC086C601A7}" type="sibTrans" cxnId="{478D560A-0F62-44FC-A917-DC8F4B0CECD6}">
      <dgm:prSet/>
      <dgm:spPr/>
      <dgm:t>
        <a:bodyPr/>
        <a:lstStyle/>
        <a:p>
          <a:pPr algn="ctr"/>
          <a:endParaRPr lang="en-US"/>
        </a:p>
      </dgm:t>
    </dgm:pt>
    <dgm:pt modelId="{25BE9558-7965-49D3-82D3-F208A61489E1}" type="parTrans" cxnId="{478D560A-0F62-44FC-A917-DC8F4B0CECD6}">
      <dgm:prSet/>
      <dgm:spPr/>
      <dgm:t>
        <a:bodyPr/>
        <a:lstStyle/>
        <a:p>
          <a:pPr algn="ctr"/>
          <a:endParaRPr lang="en-US"/>
        </a:p>
      </dgm:t>
    </dgm:pt>
    <dgm:pt modelId="{A4ABD01C-4C65-4112-B226-BA9F9D394665}" type="asst">
      <dgm:prSet phldrT="[Text]" custT="1"/>
      <dgm:spPr>
        <a:solidFill>
          <a:srgbClr val="98D853"/>
        </a:solidFill>
      </dgm:spPr>
      <dgm:t>
        <a:bodyPr anchor="t"/>
        <a:lstStyle/>
        <a:p>
          <a:pPr algn="ctr"/>
          <a:r>
            <a:rPr lang="en-US" sz="1600" dirty="0"/>
            <a:t>Department A</a:t>
          </a:r>
        </a:p>
      </dgm:t>
    </dgm:pt>
    <dgm:pt modelId="{4E808D2E-B059-4DA8-85D8-F4F47CB259F1}" type="sibTrans" cxnId="{EBE2EDDB-81F7-4119-81B9-1FEB73AD6956}">
      <dgm:prSet/>
      <dgm:spPr/>
      <dgm:t>
        <a:bodyPr/>
        <a:lstStyle/>
        <a:p>
          <a:pPr algn="ctr"/>
          <a:endParaRPr lang="en-US"/>
        </a:p>
      </dgm:t>
    </dgm:pt>
    <dgm:pt modelId="{3F291965-F884-4220-987E-FD5DAA013569}" type="parTrans" cxnId="{EBE2EDDB-81F7-4119-81B9-1FEB73AD6956}">
      <dgm:prSet/>
      <dgm:spPr/>
      <dgm:t>
        <a:bodyPr/>
        <a:lstStyle/>
        <a:p>
          <a:pPr algn="ctr"/>
          <a:endParaRPr lang="en-US"/>
        </a:p>
      </dgm:t>
    </dgm:pt>
    <dgm:pt modelId="{B26897FA-21BC-4D38-86B4-4A47AEEA496D}" type="asst">
      <dgm:prSet phldrT="[Text]" custT="1"/>
      <dgm:spPr>
        <a:solidFill>
          <a:schemeClr val="accent6">
            <a:lumMod val="60000"/>
            <a:lumOff val="40000"/>
          </a:schemeClr>
        </a:solidFill>
      </dgm:spPr>
      <dgm:t>
        <a:bodyPr anchor="t"/>
        <a:lstStyle/>
        <a:p>
          <a:pPr algn="ctr"/>
          <a:r>
            <a:rPr lang="en-US" sz="1600" dirty="0"/>
            <a:t>Resource Group 1</a:t>
          </a:r>
        </a:p>
      </dgm:t>
    </dgm:pt>
    <dgm:pt modelId="{9AA7ABEE-98D3-4B32-89D3-1A4A3AC21599}" type="parTrans" cxnId="{218CB35A-E0D6-4FAB-8B49-B4CED8310E0D}">
      <dgm:prSet/>
      <dgm:spPr/>
      <dgm:t>
        <a:bodyPr/>
        <a:lstStyle/>
        <a:p>
          <a:endParaRPr lang="en-US"/>
        </a:p>
      </dgm:t>
    </dgm:pt>
    <dgm:pt modelId="{0329267D-4ED1-4407-8697-8864A8FCDEB8}" type="sibTrans" cxnId="{218CB35A-E0D6-4FAB-8B49-B4CED8310E0D}">
      <dgm:prSet/>
      <dgm:spPr/>
      <dgm:t>
        <a:bodyPr/>
        <a:lstStyle/>
        <a:p>
          <a:endParaRPr lang="en-US"/>
        </a:p>
      </dgm:t>
    </dgm:pt>
    <dgm:pt modelId="{28BBFF9B-CB5B-4065-8578-B1F90E8986ED}" type="asst">
      <dgm:prSet phldrT="[Text]" custT="1"/>
      <dgm:spPr>
        <a:solidFill>
          <a:schemeClr val="accent6">
            <a:lumMod val="60000"/>
            <a:lumOff val="40000"/>
          </a:schemeClr>
        </a:solidFill>
      </dgm:spPr>
      <dgm:t>
        <a:bodyPr anchor="t"/>
        <a:lstStyle/>
        <a:p>
          <a:r>
            <a:rPr lang="en-US" sz="1600" dirty="0"/>
            <a:t>Resource Group 2</a:t>
          </a:r>
        </a:p>
      </dgm:t>
    </dgm:pt>
    <dgm:pt modelId="{BE1703E9-9D2A-4443-A85D-6C2BA5E0030A}" type="parTrans" cxnId="{B3D737A8-AF55-4C1E-A454-B4A3895DD4C9}">
      <dgm:prSet/>
      <dgm:spPr/>
      <dgm:t>
        <a:bodyPr/>
        <a:lstStyle/>
        <a:p>
          <a:endParaRPr lang="en-US"/>
        </a:p>
      </dgm:t>
    </dgm:pt>
    <dgm:pt modelId="{4B9F4BA1-71E4-4E00-904E-77E640C22A8C}" type="sibTrans" cxnId="{B3D737A8-AF55-4C1E-A454-B4A3895DD4C9}">
      <dgm:prSet/>
      <dgm:spPr/>
      <dgm:t>
        <a:bodyPr/>
        <a:lstStyle/>
        <a:p>
          <a:endParaRPr lang="en-US"/>
        </a:p>
      </dgm:t>
    </dgm:pt>
    <dgm:pt modelId="{32B25EF7-FEC0-432C-89A2-0B670BD79F88}" type="pres">
      <dgm:prSet presAssocID="{F19CD254-33C3-49A4-8070-9AA2DBCC70DB}" presName="mainComposite" presStyleCnt="0">
        <dgm:presLayoutVars>
          <dgm:chPref val="1"/>
          <dgm:dir/>
          <dgm:animOne val="branch"/>
          <dgm:animLvl val="lvl"/>
          <dgm:resizeHandles val="exact"/>
        </dgm:presLayoutVars>
      </dgm:prSet>
      <dgm:spPr/>
    </dgm:pt>
    <dgm:pt modelId="{0E356C29-FEF2-4945-A2C8-FE8D9738D163}" type="pres">
      <dgm:prSet presAssocID="{F19CD254-33C3-49A4-8070-9AA2DBCC70DB}" presName="hierFlow" presStyleCnt="0"/>
      <dgm:spPr/>
    </dgm:pt>
    <dgm:pt modelId="{6AF1CB02-1106-45DC-B3DF-169624EA89E0}" type="pres">
      <dgm:prSet presAssocID="{F19CD254-33C3-49A4-8070-9AA2DBCC70DB}" presName="hierChild1" presStyleCnt="0">
        <dgm:presLayoutVars>
          <dgm:chPref val="1"/>
          <dgm:animOne val="branch"/>
          <dgm:animLvl val="lvl"/>
        </dgm:presLayoutVars>
      </dgm:prSet>
      <dgm:spPr/>
    </dgm:pt>
    <dgm:pt modelId="{4C07DF27-DB0B-485E-8E4F-FEF088710ECF}" type="pres">
      <dgm:prSet presAssocID="{CEEB9047-7F8B-4B42-B8FA-5E6F2ABAA0B3}" presName="Name14" presStyleCnt="0"/>
      <dgm:spPr/>
    </dgm:pt>
    <dgm:pt modelId="{464FB25A-ABE9-4FD0-9315-C687680E0929}" type="pres">
      <dgm:prSet presAssocID="{CEEB9047-7F8B-4B42-B8FA-5E6F2ABAA0B3}" presName="level1Shape" presStyleLbl="node0" presStyleIdx="0" presStyleCnt="1" custScaleX="124665" custScaleY="39648" custLinFactNeighborX="-29532" custLinFactNeighborY="-15534">
        <dgm:presLayoutVars>
          <dgm:chPref val="3"/>
        </dgm:presLayoutVars>
      </dgm:prSet>
      <dgm:spPr/>
    </dgm:pt>
    <dgm:pt modelId="{1258C67D-2ACD-4788-952A-DB54B6E7808E}" type="pres">
      <dgm:prSet presAssocID="{CEEB9047-7F8B-4B42-B8FA-5E6F2ABAA0B3}" presName="hierChild2" presStyleCnt="0"/>
      <dgm:spPr/>
    </dgm:pt>
    <dgm:pt modelId="{2CAF34B9-4E69-4FF7-B3A9-073DDDF1B5D7}" type="pres">
      <dgm:prSet presAssocID="{3F291965-F884-4220-987E-FD5DAA013569}" presName="Name19" presStyleLbl="parChTrans1D2" presStyleIdx="0" presStyleCnt="2"/>
      <dgm:spPr/>
    </dgm:pt>
    <dgm:pt modelId="{475C61F9-F963-409A-BEBC-6FBC7C2281B3}" type="pres">
      <dgm:prSet presAssocID="{A4ABD01C-4C65-4112-B226-BA9F9D394665}" presName="Name21" presStyleCnt="0"/>
      <dgm:spPr/>
    </dgm:pt>
    <dgm:pt modelId="{ED6EE5EC-D5F5-4F8C-BD8C-FD1FC1DEE422}" type="pres">
      <dgm:prSet presAssocID="{A4ABD01C-4C65-4112-B226-BA9F9D394665}" presName="level2Shape" presStyleLbl="asst1" presStyleIdx="0" presStyleCnt="8" custScaleX="99338" custScaleY="48177" custLinFactNeighborY="-671"/>
      <dgm:spPr/>
    </dgm:pt>
    <dgm:pt modelId="{F7413274-295E-458A-BF41-4EBEB3C14CA7}" type="pres">
      <dgm:prSet presAssocID="{A4ABD01C-4C65-4112-B226-BA9F9D394665}" presName="hierChild3" presStyleCnt="0"/>
      <dgm:spPr/>
    </dgm:pt>
    <dgm:pt modelId="{88DC53D4-C5CC-467D-A3BE-9817D4F99DE8}" type="pres">
      <dgm:prSet presAssocID="{4CC16CE6-E831-4CC0-BA2F-DEBE10F8722F}" presName="Name19" presStyleLbl="parChTrans1D3" presStyleIdx="0" presStyleCnt="3"/>
      <dgm:spPr/>
    </dgm:pt>
    <dgm:pt modelId="{022DF18E-7FE0-40A2-BA69-0F75FF07D829}" type="pres">
      <dgm:prSet presAssocID="{CE18C925-A2CF-41C7-A2C2-B8AA38902274}" presName="Name21" presStyleCnt="0"/>
      <dgm:spPr/>
    </dgm:pt>
    <dgm:pt modelId="{CD77EB5C-5653-4243-BB19-0A4C365572C0}" type="pres">
      <dgm:prSet presAssocID="{CE18C925-A2CF-41C7-A2C2-B8AA38902274}" presName="level2Shape" presStyleLbl="asst1" presStyleIdx="1" presStyleCnt="8" custScaleX="88589" custScaleY="56448" custLinFactNeighborX="16525" custLinFactNeighborY="-27"/>
      <dgm:spPr/>
    </dgm:pt>
    <dgm:pt modelId="{C642F556-0865-448C-AFF0-6AABF6EB498D}" type="pres">
      <dgm:prSet presAssocID="{CE18C925-A2CF-41C7-A2C2-B8AA38902274}" presName="hierChild3" presStyleCnt="0"/>
      <dgm:spPr/>
    </dgm:pt>
    <dgm:pt modelId="{6E33D6F8-6B01-402E-A607-B1F9EF7CE68C}" type="pres">
      <dgm:prSet presAssocID="{89EE65B0-2347-4A9D-BBFC-D22402E6060F}" presName="Name19" presStyleLbl="parChTrans1D4" presStyleIdx="0" presStyleCnt="5"/>
      <dgm:spPr/>
    </dgm:pt>
    <dgm:pt modelId="{803EDBC3-63B2-436B-8FCD-32ACC2171127}" type="pres">
      <dgm:prSet presAssocID="{4832C99C-7B61-41A6-9EB3-783CA000E16A}" presName="Name21" presStyleCnt="0"/>
      <dgm:spPr/>
    </dgm:pt>
    <dgm:pt modelId="{B3C235E4-1037-4CD5-B6E1-6F7A34FF24E8}" type="pres">
      <dgm:prSet presAssocID="{4832C99C-7B61-41A6-9EB3-783CA000E16A}" presName="level2Shape" presStyleLbl="asst1" presStyleIdx="2" presStyleCnt="8" custScaleX="68435" custScaleY="46651" custLinFactNeighborX="21161" custLinFactNeighborY="-554"/>
      <dgm:spPr/>
    </dgm:pt>
    <dgm:pt modelId="{D14EF72F-9CEA-455F-AB19-42EA55818162}" type="pres">
      <dgm:prSet presAssocID="{4832C99C-7B61-41A6-9EB3-783CA000E16A}" presName="hierChild3" presStyleCnt="0"/>
      <dgm:spPr/>
    </dgm:pt>
    <dgm:pt modelId="{CF53A3D6-A072-42CB-98DD-C00C8A40D016}" type="pres">
      <dgm:prSet presAssocID="{DC818D94-CE74-49D3-A51E-517674F5614A}" presName="Name19" presStyleLbl="parChTrans1D4" presStyleIdx="1" presStyleCnt="5"/>
      <dgm:spPr/>
    </dgm:pt>
    <dgm:pt modelId="{9FEB6760-2C1E-4363-929E-76257DF975DE}" type="pres">
      <dgm:prSet presAssocID="{5FDBCFCA-D236-48E5-A26E-0C3BB411297C}" presName="Name21" presStyleCnt="0"/>
      <dgm:spPr/>
    </dgm:pt>
    <dgm:pt modelId="{3C026456-0018-498C-90B8-4E6AD741A2D5}" type="pres">
      <dgm:prSet presAssocID="{5FDBCFCA-D236-48E5-A26E-0C3BB411297C}" presName="level2Shape" presStyleLbl="asst1" presStyleIdx="3" presStyleCnt="8" custScaleX="67787" custScaleY="46651" custLinFactNeighborX="15903" custLinFactNeighborY="-306"/>
      <dgm:spPr/>
    </dgm:pt>
    <dgm:pt modelId="{E789E2A2-0B6F-487C-871C-C87B39A85575}" type="pres">
      <dgm:prSet presAssocID="{5FDBCFCA-D236-48E5-A26E-0C3BB411297C}" presName="hierChild3" presStyleCnt="0"/>
      <dgm:spPr/>
    </dgm:pt>
    <dgm:pt modelId="{4E39B038-EF17-4D39-820C-7F9B62919E81}" type="pres">
      <dgm:prSet presAssocID="{9AA7ABEE-98D3-4B32-89D3-1A4A3AC21599}" presName="Name19" presStyleLbl="parChTrans1D4" presStyleIdx="2" presStyleCnt="5"/>
      <dgm:spPr/>
    </dgm:pt>
    <dgm:pt modelId="{094E795A-DB4E-4087-BFDE-A4385B8F662F}" type="pres">
      <dgm:prSet presAssocID="{B26897FA-21BC-4D38-86B4-4A47AEEA496D}" presName="Name21" presStyleCnt="0"/>
      <dgm:spPr/>
    </dgm:pt>
    <dgm:pt modelId="{C0A53F0B-9338-43C7-A099-40FB4DC27768}" type="pres">
      <dgm:prSet presAssocID="{B26897FA-21BC-4D38-86B4-4A47AEEA496D}" presName="level2Shape" presStyleLbl="asst1" presStyleIdx="4" presStyleCnt="8" custScaleX="117757" custScaleY="41224" custLinFactNeighborX="23606"/>
      <dgm:spPr/>
    </dgm:pt>
    <dgm:pt modelId="{A555A5F7-1259-40A8-9016-95A280DACE68}" type="pres">
      <dgm:prSet presAssocID="{B26897FA-21BC-4D38-86B4-4A47AEEA496D}" presName="hierChild3" presStyleCnt="0"/>
      <dgm:spPr/>
    </dgm:pt>
    <dgm:pt modelId="{3542E58D-EBB6-4DA5-90D2-7071ACE48ABD}" type="pres">
      <dgm:prSet presAssocID="{BE1703E9-9D2A-4443-A85D-6C2BA5E0030A}" presName="Name19" presStyleLbl="parChTrans1D4" presStyleIdx="3" presStyleCnt="5"/>
      <dgm:spPr/>
    </dgm:pt>
    <dgm:pt modelId="{144F6D4F-1771-4A40-B316-A402BDE07966}" type="pres">
      <dgm:prSet presAssocID="{28BBFF9B-CB5B-4065-8578-B1F90E8986ED}" presName="Name21" presStyleCnt="0"/>
      <dgm:spPr/>
    </dgm:pt>
    <dgm:pt modelId="{70FF1E07-432E-448B-9E00-1ABC19D7F7BC}" type="pres">
      <dgm:prSet presAssocID="{28BBFF9B-CB5B-4065-8578-B1F90E8986ED}" presName="level2Shape" presStyleLbl="asst1" presStyleIdx="5" presStyleCnt="8" custScaleX="110992" custScaleY="39501" custLinFactNeighborX="8294"/>
      <dgm:spPr/>
    </dgm:pt>
    <dgm:pt modelId="{3DF22DE2-203A-4430-BD92-235AF5E28584}" type="pres">
      <dgm:prSet presAssocID="{28BBFF9B-CB5B-4065-8578-B1F90E8986ED}" presName="hierChild3" presStyleCnt="0"/>
      <dgm:spPr/>
    </dgm:pt>
    <dgm:pt modelId="{6457A614-B8DB-4C81-9F25-029D01F23948}" type="pres">
      <dgm:prSet presAssocID="{D876A9BE-A67C-42C0-B0A1-A72AA1EE100D}" presName="Name19" presStyleLbl="parChTrans1D3" presStyleIdx="1" presStyleCnt="3"/>
      <dgm:spPr/>
    </dgm:pt>
    <dgm:pt modelId="{BB0949FF-71DF-40C1-840C-1F201B02CB40}" type="pres">
      <dgm:prSet presAssocID="{28591FDF-E0F7-4C45-BB91-AD6F3AF6603E}" presName="Name21" presStyleCnt="0"/>
      <dgm:spPr/>
    </dgm:pt>
    <dgm:pt modelId="{81E0D3E5-4DDB-463B-A2E6-FD6EE1D4FE12}" type="pres">
      <dgm:prSet presAssocID="{28591FDF-E0F7-4C45-BB91-AD6F3AF6603E}" presName="level2Shape" presStyleLbl="asst1" presStyleIdx="6" presStyleCnt="8" custScaleX="76921" custScaleY="56448"/>
      <dgm:spPr/>
    </dgm:pt>
    <dgm:pt modelId="{202D36DC-F440-4FFA-B134-28B59A45AF76}" type="pres">
      <dgm:prSet presAssocID="{28591FDF-E0F7-4C45-BB91-AD6F3AF6603E}" presName="hierChild3" presStyleCnt="0"/>
      <dgm:spPr/>
    </dgm:pt>
    <dgm:pt modelId="{87B2EC59-9472-4294-9CDF-7C707DF9F8B6}" type="pres">
      <dgm:prSet presAssocID="{8C6BF9EE-AE53-447C-8869-7805FFB0EDEB}" presName="Name19" presStyleLbl="parChTrans1D4" presStyleIdx="4" presStyleCnt="5"/>
      <dgm:spPr/>
    </dgm:pt>
    <dgm:pt modelId="{FB7D4CE7-5962-4836-A139-AC8636E8A6A1}" type="pres">
      <dgm:prSet presAssocID="{ADE8C91E-A696-4B68-800F-4C12DD992C99}" presName="Name21" presStyleCnt="0"/>
      <dgm:spPr/>
    </dgm:pt>
    <dgm:pt modelId="{087E7810-531E-4A34-BFEB-CD4BA126395B}" type="pres">
      <dgm:prSet presAssocID="{ADE8C91E-A696-4B68-800F-4C12DD992C99}" presName="level2Shape" presStyleLbl="asst1" presStyleIdx="7" presStyleCnt="8" custScaleX="70647" custScaleY="46651"/>
      <dgm:spPr/>
    </dgm:pt>
    <dgm:pt modelId="{412E95BB-0884-405A-988A-CEE7EBF177E1}" type="pres">
      <dgm:prSet presAssocID="{ADE8C91E-A696-4B68-800F-4C12DD992C99}" presName="hierChild3" presStyleCnt="0"/>
      <dgm:spPr/>
    </dgm:pt>
    <dgm:pt modelId="{720BEA72-8562-4296-A4F5-10D5080F8721}" type="pres">
      <dgm:prSet presAssocID="{8728FFFD-65B5-46F4-B73B-39F1B143636C}" presName="Name19" presStyleLbl="parChTrans1D2" presStyleIdx="1" presStyleCnt="2"/>
      <dgm:spPr/>
    </dgm:pt>
    <dgm:pt modelId="{20CB3B85-06E9-4E23-A524-02A24441377E}" type="pres">
      <dgm:prSet presAssocID="{FC8DC153-972E-461C-AE19-80DA44B22FB1}" presName="Name21" presStyleCnt="0"/>
      <dgm:spPr/>
    </dgm:pt>
    <dgm:pt modelId="{81CA7889-0877-443F-BD04-6D89D8C942F6}" type="pres">
      <dgm:prSet presAssocID="{FC8DC153-972E-461C-AE19-80DA44B22FB1}" presName="level2Shape" presStyleLbl="node2" presStyleIdx="0" presStyleCnt="1" custScaleX="80917" custScaleY="56448" custLinFactNeighborX="-4219" custLinFactNeighborY="88348"/>
      <dgm:spPr/>
    </dgm:pt>
    <dgm:pt modelId="{53E65945-948F-4F12-9238-93738CAC23F5}" type="pres">
      <dgm:prSet presAssocID="{FC8DC153-972E-461C-AE19-80DA44B22FB1}" presName="hierChild3" presStyleCnt="0"/>
      <dgm:spPr/>
    </dgm:pt>
    <dgm:pt modelId="{271149F3-73A6-44F2-B1E5-60C0E0E0B682}" type="pres">
      <dgm:prSet presAssocID="{3D0B96AF-51A7-48FC-8C13-6610AB8C3F5B}" presName="Name19" presStyleLbl="parChTrans1D3" presStyleIdx="2" presStyleCnt="3"/>
      <dgm:spPr/>
    </dgm:pt>
    <dgm:pt modelId="{CF5186B5-1E94-45ED-9C91-2F74D2E1051A}" type="pres">
      <dgm:prSet presAssocID="{705B1C81-DD37-411A-B5F1-43361FADEC30}" presName="Name21" presStyleCnt="0"/>
      <dgm:spPr/>
    </dgm:pt>
    <dgm:pt modelId="{4E50AC05-753E-4B9F-9B0B-0E9000D92BC4}" type="pres">
      <dgm:prSet presAssocID="{705B1C81-DD37-411A-B5F1-43361FADEC30}" presName="level2Shape" presStyleLbl="node3" presStyleIdx="0" presStyleCnt="1" custScaleX="70429" custScaleY="46651" custLinFactNeighborX="-6687" custLinFactNeighborY="88780"/>
      <dgm:spPr/>
    </dgm:pt>
    <dgm:pt modelId="{48F1D555-9987-492D-A001-AEC6FC77EA47}" type="pres">
      <dgm:prSet presAssocID="{705B1C81-DD37-411A-B5F1-43361FADEC30}" presName="hierChild3" presStyleCnt="0"/>
      <dgm:spPr/>
    </dgm:pt>
    <dgm:pt modelId="{C45A75FB-5893-4DF0-A456-F59D17B2C30E}" type="pres">
      <dgm:prSet presAssocID="{F19CD254-33C3-49A4-8070-9AA2DBCC70DB}" presName="bgShapesFlow" presStyleCnt="0"/>
      <dgm:spPr/>
    </dgm:pt>
  </dgm:ptLst>
  <dgm:cxnLst>
    <dgm:cxn modelId="{D9CCBC00-DFBE-4B7C-A275-E737F2283AF6}" srcId="{CE18C925-A2CF-41C7-A2C2-B8AA38902274}" destId="{4832C99C-7B61-41A6-9EB3-783CA000E16A}" srcOrd="0" destOrd="0" parTransId="{89EE65B0-2347-4A9D-BBFC-D22402E6060F}" sibTransId="{8AF3FB08-E571-43D7-81B0-2F9BD71329FD}"/>
    <dgm:cxn modelId="{B8B2DC01-6374-4195-AF3C-55CB8D7E4545}" type="presOf" srcId="{D876A9BE-A67C-42C0-B0A1-A72AA1EE100D}" destId="{6457A614-B8DB-4C81-9F25-029D01F23948}" srcOrd="0" destOrd="0" presId="urn:microsoft.com/office/officeart/2005/8/layout/hierarchy6"/>
    <dgm:cxn modelId="{8E727303-466A-4A95-9D95-71AC0D1729F1}" type="presOf" srcId="{8728FFFD-65B5-46F4-B73B-39F1B143636C}" destId="{720BEA72-8562-4296-A4F5-10D5080F8721}" srcOrd="0" destOrd="0" presId="urn:microsoft.com/office/officeart/2005/8/layout/hierarchy6"/>
    <dgm:cxn modelId="{7D4B3F07-BC28-4161-B959-C04D74C2E8A2}" srcId="{A4ABD01C-4C65-4112-B226-BA9F9D394665}" destId="{CE18C925-A2CF-41C7-A2C2-B8AA38902274}" srcOrd="0" destOrd="0" parTransId="{4CC16CE6-E831-4CC0-BA2F-DEBE10F8722F}" sibTransId="{96CA627F-8BA4-42F2-AF11-BBDCC971BB5E}"/>
    <dgm:cxn modelId="{478D560A-0F62-44FC-A917-DC8F4B0CECD6}" srcId="{F19CD254-33C3-49A4-8070-9AA2DBCC70DB}" destId="{CEEB9047-7F8B-4B42-B8FA-5E6F2ABAA0B3}" srcOrd="0" destOrd="0" parTransId="{25BE9558-7965-49D3-82D3-F208A61489E1}" sibTransId="{E9DAB84B-6456-4835-AED3-3CC086C601A7}"/>
    <dgm:cxn modelId="{70DD7A0E-2191-4F29-9EFF-BC0B2E7F3ED0}" type="presOf" srcId="{89EE65B0-2347-4A9D-BBFC-D22402E6060F}" destId="{6E33D6F8-6B01-402E-A607-B1F9EF7CE68C}" srcOrd="0" destOrd="0" presId="urn:microsoft.com/office/officeart/2005/8/layout/hierarchy6"/>
    <dgm:cxn modelId="{D9289713-B774-4BDA-9FFA-49878FC5C94B}" type="presOf" srcId="{28591FDF-E0F7-4C45-BB91-AD6F3AF6603E}" destId="{81E0D3E5-4DDB-463B-A2E6-FD6EE1D4FE12}" srcOrd="0" destOrd="0" presId="urn:microsoft.com/office/officeart/2005/8/layout/hierarchy6"/>
    <dgm:cxn modelId="{7E47A020-4784-4694-8C43-A2C00B9B95B3}" srcId="{28591FDF-E0F7-4C45-BB91-AD6F3AF6603E}" destId="{ADE8C91E-A696-4B68-800F-4C12DD992C99}" srcOrd="0" destOrd="0" parTransId="{8C6BF9EE-AE53-447C-8869-7805FFB0EDEB}" sibTransId="{86809FB3-0976-4036-B9EB-E673D64842E8}"/>
    <dgm:cxn modelId="{EFDC8522-77FF-4962-9A0E-509855556393}" type="presOf" srcId="{BE1703E9-9D2A-4443-A85D-6C2BA5E0030A}" destId="{3542E58D-EBB6-4DA5-90D2-7071ACE48ABD}" srcOrd="0" destOrd="0" presId="urn:microsoft.com/office/officeart/2005/8/layout/hierarchy6"/>
    <dgm:cxn modelId="{93484228-641C-4C21-AAFF-A003F47F8337}" type="presOf" srcId="{B26897FA-21BC-4D38-86B4-4A47AEEA496D}" destId="{C0A53F0B-9338-43C7-A099-40FB4DC27768}" srcOrd="0" destOrd="0" presId="urn:microsoft.com/office/officeart/2005/8/layout/hierarchy6"/>
    <dgm:cxn modelId="{8B19552A-1F26-4C1C-A7B5-8709494EAB27}" type="presOf" srcId="{8C6BF9EE-AE53-447C-8869-7805FFB0EDEB}" destId="{87B2EC59-9472-4294-9CDF-7C707DF9F8B6}" srcOrd="0" destOrd="0" presId="urn:microsoft.com/office/officeart/2005/8/layout/hierarchy6"/>
    <dgm:cxn modelId="{616A1E40-553B-4926-BC48-6C908B2C7C12}" type="presOf" srcId="{3F291965-F884-4220-987E-FD5DAA013569}" destId="{2CAF34B9-4E69-4FF7-B3A9-073DDDF1B5D7}" srcOrd="0" destOrd="0" presId="urn:microsoft.com/office/officeart/2005/8/layout/hierarchy6"/>
    <dgm:cxn modelId="{6DB4604D-F02E-4FC1-9D47-CA63CF1E8095}" type="presOf" srcId="{CEEB9047-7F8B-4B42-B8FA-5E6F2ABAA0B3}" destId="{464FB25A-ABE9-4FD0-9315-C687680E0929}" srcOrd="0" destOrd="0" presId="urn:microsoft.com/office/officeart/2005/8/layout/hierarchy6"/>
    <dgm:cxn modelId="{6E38F251-3F83-4179-AFD9-36CD23EBC2C4}" type="presOf" srcId="{3D0B96AF-51A7-48FC-8C13-6610AB8C3F5B}" destId="{271149F3-73A6-44F2-B1E5-60C0E0E0B682}" srcOrd="0" destOrd="0" presId="urn:microsoft.com/office/officeart/2005/8/layout/hierarchy6"/>
    <dgm:cxn modelId="{ED805457-E44D-425B-BDFC-248D8E609E2C}" type="presOf" srcId="{705B1C81-DD37-411A-B5F1-43361FADEC30}" destId="{4E50AC05-753E-4B9F-9B0B-0E9000D92BC4}" srcOrd="0" destOrd="0" presId="urn:microsoft.com/office/officeart/2005/8/layout/hierarchy6"/>
    <dgm:cxn modelId="{9A927579-A9E9-4407-9F57-34DC9B4486AA}" type="presOf" srcId="{28BBFF9B-CB5B-4065-8578-B1F90E8986ED}" destId="{70FF1E07-432E-448B-9E00-1ABC19D7F7BC}" srcOrd="0" destOrd="0" presId="urn:microsoft.com/office/officeart/2005/8/layout/hierarchy6"/>
    <dgm:cxn modelId="{218CB35A-E0D6-4FAB-8B49-B4CED8310E0D}" srcId="{5FDBCFCA-D236-48E5-A26E-0C3BB411297C}" destId="{B26897FA-21BC-4D38-86B4-4A47AEEA496D}" srcOrd="0" destOrd="0" parTransId="{9AA7ABEE-98D3-4B32-89D3-1A4A3AC21599}" sibTransId="{0329267D-4ED1-4407-8697-8864A8FCDEB8}"/>
    <dgm:cxn modelId="{50DC3A81-B22D-4272-B193-CFEAEDE2224A}" type="presOf" srcId="{5FDBCFCA-D236-48E5-A26E-0C3BB411297C}" destId="{3C026456-0018-498C-90B8-4E6AD741A2D5}" srcOrd="0" destOrd="0" presId="urn:microsoft.com/office/officeart/2005/8/layout/hierarchy6"/>
    <dgm:cxn modelId="{6533FF94-602F-4783-B112-6719016FED8C}" type="presOf" srcId="{A4ABD01C-4C65-4112-B226-BA9F9D394665}" destId="{ED6EE5EC-D5F5-4F8C-BD8C-FD1FC1DEE422}" srcOrd="0" destOrd="0" presId="urn:microsoft.com/office/officeart/2005/8/layout/hierarchy6"/>
    <dgm:cxn modelId="{8BC9E59F-F931-47DC-848A-75E9B0269D93}" type="presOf" srcId="{CE18C925-A2CF-41C7-A2C2-B8AA38902274}" destId="{CD77EB5C-5653-4243-BB19-0A4C365572C0}" srcOrd="0" destOrd="0" presId="urn:microsoft.com/office/officeart/2005/8/layout/hierarchy6"/>
    <dgm:cxn modelId="{90FD93A4-7685-482E-A0FE-4551AA6B632B}" srcId="{FC8DC153-972E-461C-AE19-80DA44B22FB1}" destId="{705B1C81-DD37-411A-B5F1-43361FADEC30}" srcOrd="0" destOrd="0" parTransId="{3D0B96AF-51A7-48FC-8C13-6610AB8C3F5B}" sibTransId="{2BCCEA03-5463-433C-BC33-B251DEC91225}"/>
    <dgm:cxn modelId="{B3D737A8-AF55-4C1E-A454-B4A3895DD4C9}" srcId="{5FDBCFCA-D236-48E5-A26E-0C3BB411297C}" destId="{28BBFF9B-CB5B-4065-8578-B1F90E8986ED}" srcOrd="1" destOrd="0" parTransId="{BE1703E9-9D2A-4443-A85D-6C2BA5E0030A}" sibTransId="{4B9F4BA1-71E4-4E00-904E-77E640C22A8C}"/>
    <dgm:cxn modelId="{C03F83AA-1CBE-4212-A3E9-C3208503BF49}" srcId="{CE18C925-A2CF-41C7-A2C2-B8AA38902274}" destId="{5FDBCFCA-D236-48E5-A26E-0C3BB411297C}" srcOrd="1" destOrd="0" parTransId="{DC818D94-CE74-49D3-A51E-517674F5614A}" sibTransId="{24ADBA3B-8194-41C4-BCFE-CE3F6F252382}"/>
    <dgm:cxn modelId="{84CC7ABB-1CC1-4027-8182-EAC20E67FAF7}" type="presOf" srcId="{ADE8C91E-A696-4B68-800F-4C12DD992C99}" destId="{087E7810-531E-4A34-BFEB-CD4BA126395B}" srcOrd="0" destOrd="0" presId="urn:microsoft.com/office/officeart/2005/8/layout/hierarchy6"/>
    <dgm:cxn modelId="{E502A7C6-75EE-42AB-83EB-115C7B03F9BE}" srcId="{A4ABD01C-4C65-4112-B226-BA9F9D394665}" destId="{28591FDF-E0F7-4C45-BB91-AD6F3AF6603E}" srcOrd="1" destOrd="0" parTransId="{D876A9BE-A67C-42C0-B0A1-A72AA1EE100D}" sibTransId="{16B4C8B0-A56C-4920-8985-08F6C315A1CE}"/>
    <dgm:cxn modelId="{B1CF37C9-0EE6-4AA2-BF82-80170340F696}" srcId="{CEEB9047-7F8B-4B42-B8FA-5E6F2ABAA0B3}" destId="{FC8DC153-972E-461C-AE19-80DA44B22FB1}" srcOrd="1" destOrd="0" parTransId="{8728FFFD-65B5-46F4-B73B-39F1B143636C}" sibTransId="{32E35D9A-8879-41E1-8087-DEDBF802307B}"/>
    <dgm:cxn modelId="{BFCCFDCB-CA69-429E-90BC-1A0E9E8D767B}" type="presOf" srcId="{DC818D94-CE74-49D3-A51E-517674F5614A}" destId="{CF53A3D6-A072-42CB-98DD-C00C8A40D016}" srcOrd="0" destOrd="0" presId="urn:microsoft.com/office/officeart/2005/8/layout/hierarchy6"/>
    <dgm:cxn modelId="{E8DDA7DA-1C8A-4D52-96F1-336A9CA11872}" type="presOf" srcId="{4832C99C-7B61-41A6-9EB3-783CA000E16A}" destId="{B3C235E4-1037-4CD5-B6E1-6F7A34FF24E8}" srcOrd="0" destOrd="0" presId="urn:microsoft.com/office/officeart/2005/8/layout/hierarchy6"/>
    <dgm:cxn modelId="{EBE2EDDB-81F7-4119-81B9-1FEB73AD6956}" srcId="{CEEB9047-7F8B-4B42-B8FA-5E6F2ABAA0B3}" destId="{A4ABD01C-4C65-4112-B226-BA9F9D394665}" srcOrd="0" destOrd="0" parTransId="{3F291965-F884-4220-987E-FD5DAA013569}" sibTransId="{4E808D2E-B059-4DA8-85D8-F4F47CB259F1}"/>
    <dgm:cxn modelId="{FD8E2DE0-AAA4-48D6-BED0-A2CF70B088A8}" type="presOf" srcId="{FC8DC153-972E-461C-AE19-80DA44B22FB1}" destId="{81CA7889-0877-443F-BD04-6D89D8C942F6}" srcOrd="0" destOrd="0" presId="urn:microsoft.com/office/officeart/2005/8/layout/hierarchy6"/>
    <dgm:cxn modelId="{2D6768E4-DBCF-4FAA-9A6F-0513AEEB205A}" type="presOf" srcId="{9AA7ABEE-98D3-4B32-89D3-1A4A3AC21599}" destId="{4E39B038-EF17-4D39-820C-7F9B62919E81}" srcOrd="0" destOrd="0" presId="urn:microsoft.com/office/officeart/2005/8/layout/hierarchy6"/>
    <dgm:cxn modelId="{051FFAF4-803F-4366-B11A-37E2DBC5BECB}" type="presOf" srcId="{4CC16CE6-E831-4CC0-BA2F-DEBE10F8722F}" destId="{88DC53D4-C5CC-467D-A3BE-9817D4F99DE8}" srcOrd="0" destOrd="0" presId="urn:microsoft.com/office/officeart/2005/8/layout/hierarchy6"/>
    <dgm:cxn modelId="{2E5850F6-703E-4C9D-834B-2B0215B178F3}" type="presOf" srcId="{F19CD254-33C3-49A4-8070-9AA2DBCC70DB}" destId="{32B25EF7-FEC0-432C-89A2-0B670BD79F88}" srcOrd="0" destOrd="0" presId="urn:microsoft.com/office/officeart/2005/8/layout/hierarchy6"/>
    <dgm:cxn modelId="{912F312C-D121-4AAF-B15C-B72BF441C48A}" type="presParOf" srcId="{32B25EF7-FEC0-432C-89A2-0B670BD79F88}" destId="{0E356C29-FEF2-4945-A2C8-FE8D9738D163}" srcOrd="0" destOrd="0" presId="urn:microsoft.com/office/officeart/2005/8/layout/hierarchy6"/>
    <dgm:cxn modelId="{8DB0DF7B-5005-4F7F-8230-0CFEBFA79A40}" type="presParOf" srcId="{0E356C29-FEF2-4945-A2C8-FE8D9738D163}" destId="{6AF1CB02-1106-45DC-B3DF-169624EA89E0}" srcOrd="0" destOrd="0" presId="urn:microsoft.com/office/officeart/2005/8/layout/hierarchy6"/>
    <dgm:cxn modelId="{457773A4-662E-4BB1-8267-7F7FEC99BF90}" type="presParOf" srcId="{6AF1CB02-1106-45DC-B3DF-169624EA89E0}" destId="{4C07DF27-DB0B-485E-8E4F-FEF088710ECF}" srcOrd="0" destOrd="0" presId="urn:microsoft.com/office/officeart/2005/8/layout/hierarchy6"/>
    <dgm:cxn modelId="{77C321F2-4DAF-452B-832B-C5946EDFF448}" type="presParOf" srcId="{4C07DF27-DB0B-485E-8E4F-FEF088710ECF}" destId="{464FB25A-ABE9-4FD0-9315-C687680E0929}" srcOrd="0" destOrd="0" presId="urn:microsoft.com/office/officeart/2005/8/layout/hierarchy6"/>
    <dgm:cxn modelId="{7E011AAD-AD2A-400A-833E-6AF470A74D0B}" type="presParOf" srcId="{4C07DF27-DB0B-485E-8E4F-FEF088710ECF}" destId="{1258C67D-2ACD-4788-952A-DB54B6E7808E}" srcOrd="1" destOrd="0" presId="urn:microsoft.com/office/officeart/2005/8/layout/hierarchy6"/>
    <dgm:cxn modelId="{5B21DF6A-83F3-468C-A9AE-497470D97406}" type="presParOf" srcId="{1258C67D-2ACD-4788-952A-DB54B6E7808E}" destId="{2CAF34B9-4E69-4FF7-B3A9-073DDDF1B5D7}" srcOrd="0" destOrd="0" presId="urn:microsoft.com/office/officeart/2005/8/layout/hierarchy6"/>
    <dgm:cxn modelId="{29896B44-B9AC-4516-84B0-62D0D651382F}" type="presParOf" srcId="{1258C67D-2ACD-4788-952A-DB54B6E7808E}" destId="{475C61F9-F963-409A-BEBC-6FBC7C2281B3}" srcOrd="1" destOrd="0" presId="urn:microsoft.com/office/officeart/2005/8/layout/hierarchy6"/>
    <dgm:cxn modelId="{CBE8F116-AA5B-4643-A2E7-95ABA364A2D9}" type="presParOf" srcId="{475C61F9-F963-409A-BEBC-6FBC7C2281B3}" destId="{ED6EE5EC-D5F5-4F8C-BD8C-FD1FC1DEE422}" srcOrd="0" destOrd="0" presId="urn:microsoft.com/office/officeart/2005/8/layout/hierarchy6"/>
    <dgm:cxn modelId="{3BB14D57-985E-4D13-AB8C-88CC19549AAF}" type="presParOf" srcId="{475C61F9-F963-409A-BEBC-6FBC7C2281B3}" destId="{F7413274-295E-458A-BF41-4EBEB3C14CA7}" srcOrd="1" destOrd="0" presId="urn:microsoft.com/office/officeart/2005/8/layout/hierarchy6"/>
    <dgm:cxn modelId="{C5EF63AC-B562-491F-8259-151BD3D760D5}" type="presParOf" srcId="{F7413274-295E-458A-BF41-4EBEB3C14CA7}" destId="{88DC53D4-C5CC-467D-A3BE-9817D4F99DE8}" srcOrd="0" destOrd="0" presId="urn:microsoft.com/office/officeart/2005/8/layout/hierarchy6"/>
    <dgm:cxn modelId="{AF1A0329-C43D-47E2-8C53-F64C48F7BC6C}" type="presParOf" srcId="{F7413274-295E-458A-BF41-4EBEB3C14CA7}" destId="{022DF18E-7FE0-40A2-BA69-0F75FF07D829}" srcOrd="1" destOrd="0" presId="urn:microsoft.com/office/officeart/2005/8/layout/hierarchy6"/>
    <dgm:cxn modelId="{88CB9BE0-8351-428D-AAC7-651F9E810554}" type="presParOf" srcId="{022DF18E-7FE0-40A2-BA69-0F75FF07D829}" destId="{CD77EB5C-5653-4243-BB19-0A4C365572C0}" srcOrd="0" destOrd="0" presId="urn:microsoft.com/office/officeart/2005/8/layout/hierarchy6"/>
    <dgm:cxn modelId="{AFECC997-D226-4815-B171-4EB971F245A9}" type="presParOf" srcId="{022DF18E-7FE0-40A2-BA69-0F75FF07D829}" destId="{C642F556-0865-448C-AFF0-6AABF6EB498D}" srcOrd="1" destOrd="0" presId="urn:microsoft.com/office/officeart/2005/8/layout/hierarchy6"/>
    <dgm:cxn modelId="{83F643F8-4550-4E6B-B6BB-8FD25985773D}" type="presParOf" srcId="{C642F556-0865-448C-AFF0-6AABF6EB498D}" destId="{6E33D6F8-6B01-402E-A607-B1F9EF7CE68C}" srcOrd="0" destOrd="0" presId="urn:microsoft.com/office/officeart/2005/8/layout/hierarchy6"/>
    <dgm:cxn modelId="{43089845-B612-4539-AB5A-89FB07DAC1C2}" type="presParOf" srcId="{C642F556-0865-448C-AFF0-6AABF6EB498D}" destId="{803EDBC3-63B2-436B-8FCD-32ACC2171127}" srcOrd="1" destOrd="0" presId="urn:microsoft.com/office/officeart/2005/8/layout/hierarchy6"/>
    <dgm:cxn modelId="{0A8949C9-2951-4D8C-90CB-CBB9C0BD50FE}" type="presParOf" srcId="{803EDBC3-63B2-436B-8FCD-32ACC2171127}" destId="{B3C235E4-1037-4CD5-B6E1-6F7A34FF24E8}" srcOrd="0" destOrd="0" presId="urn:microsoft.com/office/officeart/2005/8/layout/hierarchy6"/>
    <dgm:cxn modelId="{ABD2BEFB-536F-48E5-9B02-916713B789F5}" type="presParOf" srcId="{803EDBC3-63B2-436B-8FCD-32ACC2171127}" destId="{D14EF72F-9CEA-455F-AB19-42EA55818162}" srcOrd="1" destOrd="0" presId="urn:microsoft.com/office/officeart/2005/8/layout/hierarchy6"/>
    <dgm:cxn modelId="{D2469766-1D17-4B7D-91E8-D566D4EC59FF}" type="presParOf" srcId="{C642F556-0865-448C-AFF0-6AABF6EB498D}" destId="{CF53A3D6-A072-42CB-98DD-C00C8A40D016}" srcOrd="2" destOrd="0" presId="urn:microsoft.com/office/officeart/2005/8/layout/hierarchy6"/>
    <dgm:cxn modelId="{FED577D7-1839-4B1E-AA7A-AC72817F680C}" type="presParOf" srcId="{C642F556-0865-448C-AFF0-6AABF6EB498D}" destId="{9FEB6760-2C1E-4363-929E-76257DF975DE}" srcOrd="3" destOrd="0" presId="urn:microsoft.com/office/officeart/2005/8/layout/hierarchy6"/>
    <dgm:cxn modelId="{9D71FDA7-A7C0-4C36-907A-D96BAA63124D}" type="presParOf" srcId="{9FEB6760-2C1E-4363-929E-76257DF975DE}" destId="{3C026456-0018-498C-90B8-4E6AD741A2D5}" srcOrd="0" destOrd="0" presId="urn:microsoft.com/office/officeart/2005/8/layout/hierarchy6"/>
    <dgm:cxn modelId="{0DE3ECA7-3A40-4745-893A-535C7E54E506}" type="presParOf" srcId="{9FEB6760-2C1E-4363-929E-76257DF975DE}" destId="{E789E2A2-0B6F-487C-871C-C87B39A85575}" srcOrd="1" destOrd="0" presId="urn:microsoft.com/office/officeart/2005/8/layout/hierarchy6"/>
    <dgm:cxn modelId="{4425CAF3-AFD0-4741-A7ED-1DAE503C01DA}" type="presParOf" srcId="{E789E2A2-0B6F-487C-871C-C87B39A85575}" destId="{4E39B038-EF17-4D39-820C-7F9B62919E81}" srcOrd="0" destOrd="0" presId="urn:microsoft.com/office/officeart/2005/8/layout/hierarchy6"/>
    <dgm:cxn modelId="{C98AF070-421B-4127-BC34-B9399F5C29E6}" type="presParOf" srcId="{E789E2A2-0B6F-487C-871C-C87B39A85575}" destId="{094E795A-DB4E-4087-BFDE-A4385B8F662F}" srcOrd="1" destOrd="0" presId="urn:microsoft.com/office/officeart/2005/8/layout/hierarchy6"/>
    <dgm:cxn modelId="{300D0F5D-C3B7-4E81-8136-A5DF2FBBBB83}" type="presParOf" srcId="{094E795A-DB4E-4087-BFDE-A4385B8F662F}" destId="{C0A53F0B-9338-43C7-A099-40FB4DC27768}" srcOrd="0" destOrd="0" presId="urn:microsoft.com/office/officeart/2005/8/layout/hierarchy6"/>
    <dgm:cxn modelId="{642C8985-2362-4955-AED7-E0E21B7F7AEE}" type="presParOf" srcId="{094E795A-DB4E-4087-BFDE-A4385B8F662F}" destId="{A555A5F7-1259-40A8-9016-95A280DACE68}" srcOrd="1" destOrd="0" presId="urn:microsoft.com/office/officeart/2005/8/layout/hierarchy6"/>
    <dgm:cxn modelId="{19295CE2-4F99-47BD-9D61-9CDC9A0DB0CD}" type="presParOf" srcId="{E789E2A2-0B6F-487C-871C-C87B39A85575}" destId="{3542E58D-EBB6-4DA5-90D2-7071ACE48ABD}" srcOrd="2" destOrd="0" presId="urn:microsoft.com/office/officeart/2005/8/layout/hierarchy6"/>
    <dgm:cxn modelId="{FF60E03B-9849-44FD-876C-4CCEB73AE484}" type="presParOf" srcId="{E789E2A2-0B6F-487C-871C-C87B39A85575}" destId="{144F6D4F-1771-4A40-B316-A402BDE07966}" srcOrd="3" destOrd="0" presId="urn:microsoft.com/office/officeart/2005/8/layout/hierarchy6"/>
    <dgm:cxn modelId="{67F98CEB-4A21-454C-8875-1E5E6457C3D2}" type="presParOf" srcId="{144F6D4F-1771-4A40-B316-A402BDE07966}" destId="{70FF1E07-432E-448B-9E00-1ABC19D7F7BC}" srcOrd="0" destOrd="0" presId="urn:microsoft.com/office/officeart/2005/8/layout/hierarchy6"/>
    <dgm:cxn modelId="{EE86FB61-A3B4-4A0E-8CCF-DF1AE574B55C}" type="presParOf" srcId="{144F6D4F-1771-4A40-B316-A402BDE07966}" destId="{3DF22DE2-203A-4430-BD92-235AF5E28584}" srcOrd="1" destOrd="0" presId="urn:microsoft.com/office/officeart/2005/8/layout/hierarchy6"/>
    <dgm:cxn modelId="{D964F34C-E00A-44EB-83E6-52ADEAA185FB}" type="presParOf" srcId="{F7413274-295E-458A-BF41-4EBEB3C14CA7}" destId="{6457A614-B8DB-4C81-9F25-029D01F23948}" srcOrd="2" destOrd="0" presId="urn:microsoft.com/office/officeart/2005/8/layout/hierarchy6"/>
    <dgm:cxn modelId="{C4B26FB0-1FCE-478B-AD87-3CB9CAA32027}" type="presParOf" srcId="{F7413274-295E-458A-BF41-4EBEB3C14CA7}" destId="{BB0949FF-71DF-40C1-840C-1F201B02CB40}" srcOrd="3" destOrd="0" presId="urn:microsoft.com/office/officeart/2005/8/layout/hierarchy6"/>
    <dgm:cxn modelId="{E7A5C5E6-E222-4370-B00B-D7FC93C6ED8C}" type="presParOf" srcId="{BB0949FF-71DF-40C1-840C-1F201B02CB40}" destId="{81E0D3E5-4DDB-463B-A2E6-FD6EE1D4FE12}" srcOrd="0" destOrd="0" presId="urn:microsoft.com/office/officeart/2005/8/layout/hierarchy6"/>
    <dgm:cxn modelId="{1816E9F7-9ECD-4524-BDB2-43344E7F77E3}" type="presParOf" srcId="{BB0949FF-71DF-40C1-840C-1F201B02CB40}" destId="{202D36DC-F440-4FFA-B134-28B59A45AF76}" srcOrd="1" destOrd="0" presId="urn:microsoft.com/office/officeart/2005/8/layout/hierarchy6"/>
    <dgm:cxn modelId="{29ECD88C-6797-41A7-A4EA-042E34752AC0}" type="presParOf" srcId="{202D36DC-F440-4FFA-B134-28B59A45AF76}" destId="{87B2EC59-9472-4294-9CDF-7C707DF9F8B6}" srcOrd="0" destOrd="0" presId="urn:microsoft.com/office/officeart/2005/8/layout/hierarchy6"/>
    <dgm:cxn modelId="{ACB35E3B-AD8E-4B2A-AA9C-31F1C1B56812}" type="presParOf" srcId="{202D36DC-F440-4FFA-B134-28B59A45AF76}" destId="{FB7D4CE7-5962-4836-A139-AC8636E8A6A1}" srcOrd="1" destOrd="0" presId="urn:microsoft.com/office/officeart/2005/8/layout/hierarchy6"/>
    <dgm:cxn modelId="{F4460819-6B63-44BF-BF3E-3A5495ADB564}" type="presParOf" srcId="{FB7D4CE7-5962-4836-A139-AC8636E8A6A1}" destId="{087E7810-531E-4A34-BFEB-CD4BA126395B}" srcOrd="0" destOrd="0" presId="urn:microsoft.com/office/officeart/2005/8/layout/hierarchy6"/>
    <dgm:cxn modelId="{852BCBF2-86A8-46C2-89A2-02B95B348EFC}" type="presParOf" srcId="{FB7D4CE7-5962-4836-A139-AC8636E8A6A1}" destId="{412E95BB-0884-405A-988A-CEE7EBF177E1}" srcOrd="1" destOrd="0" presId="urn:microsoft.com/office/officeart/2005/8/layout/hierarchy6"/>
    <dgm:cxn modelId="{60A218AA-613C-4C65-A1C2-328CAADD046A}" type="presParOf" srcId="{1258C67D-2ACD-4788-952A-DB54B6E7808E}" destId="{720BEA72-8562-4296-A4F5-10D5080F8721}" srcOrd="2" destOrd="0" presId="urn:microsoft.com/office/officeart/2005/8/layout/hierarchy6"/>
    <dgm:cxn modelId="{E5CA46C8-6699-4178-8786-2334B6CD3A77}" type="presParOf" srcId="{1258C67D-2ACD-4788-952A-DB54B6E7808E}" destId="{20CB3B85-06E9-4E23-A524-02A24441377E}" srcOrd="3" destOrd="0" presId="urn:microsoft.com/office/officeart/2005/8/layout/hierarchy6"/>
    <dgm:cxn modelId="{2A18D3FB-C954-47A6-8B5E-861951379DDC}" type="presParOf" srcId="{20CB3B85-06E9-4E23-A524-02A24441377E}" destId="{81CA7889-0877-443F-BD04-6D89D8C942F6}" srcOrd="0" destOrd="0" presId="urn:microsoft.com/office/officeart/2005/8/layout/hierarchy6"/>
    <dgm:cxn modelId="{E91C0A00-BD57-4FA9-9133-8E14C1144123}" type="presParOf" srcId="{20CB3B85-06E9-4E23-A524-02A24441377E}" destId="{53E65945-948F-4F12-9238-93738CAC23F5}" srcOrd="1" destOrd="0" presId="urn:microsoft.com/office/officeart/2005/8/layout/hierarchy6"/>
    <dgm:cxn modelId="{E0AB0702-A061-44F6-A62D-6540F9168C6E}" type="presParOf" srcId="{53E65945-948F-4F12-9238-93738CAC23F5}" destId="{271149F3-73A6-44F2-B1E5-60C0E0E0B682}" srcOrd="0" destOrd="0" presId="urn:microsoft.com/office/officeart/2005/8/layout/hierarchy6"/>
    <dgm:cxn modelId="{423194D5-E9D7-419E-BEE0-FB2C0B3BCBCF}" type="presParOf" srcId="{53E65945-948F-4F12-9238-93738CAC23F5}" destId="{CF5186B5-1E94-45ED-9C91-2F74D2E1051A}" srcOrd="1" destOrd="0" presId="urn:microsoft.com/office/officeart/2005/8/layout/hierarchy6"/>
    <dgm:cxn modelId="{7D94D0E8-5118-42AF-9430-8BEC098B9DC6}" type="presParOf" srcId="{CF5186B5-1E94-45ED-9C91-2F74D2E1051A}" destId="{4E50AC05-753E-4B9F-9B0B-0E9000D92BC4}" srcOrd="0" destOrd="0" presId="urn:microsoft.com/office/officeart/2005/8/layout/hierarchy6"/>
    <dgm:cxn modelId="{75BB8490-9307-4A43-AD81-43B2721171FB}" type="presParOf" srcId="{CF5186B5-1E94-45ED-9C91-2F74D2E1051A}" destId="{48F1D555-9987-492D-A001-AEC6FC77EA47}" srcOrd="1" destOrd="0" presId="urn:microsoft.com/office/officeart/2005/8/layout/hierarchy6"/>
    <dgm:cxn modelId="{3C9DCA01-B679-42A4-B452-6A851EE11EBB}" type="presParOf" srcId="{32B25EF7-FEC0-432C-89A2-0B670BD79F88}" destId="{C45A75FB-5893-4DF0-A456-F59D17B2C30E}" srcOrd="1" destOrd="0" presId="urn:microsoft.com/office/officeart/2005/8/layout/hierarchy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97F9133-D6D6-4C93-B3AD-DA7A9A09A675}" type="doc">
      <dgm:prSet loTypeId="urn:microsoft.com/office/officeart/2018/2/layout/IconVerticalSolidList" loCatId="icon" qsTypeId="urn:microsoft.com/office/officeart/2005/8/quickstyle/simple1" qsCatId="simple" csTypeId="urn:microsoft.com/office/officeart/2018/5/colors/Iconchunking_neutralicontext_accent1_2" csCatId="accent1" phldr="1"/>
      <dgm:spPr/>
      <dgm:t>
        <a:bodyPr/>
        <a:lstStyle/>
        <a:p>
          <a:endParaRPr lang="en-US"/>
        </a:p>
      </dgm:t>
    </dgm:pt>
    <dgm:pt modelId="{3DA1EC31-3FC3-40F9-A13A-F005FBC20701}">
      <dgm:prSet/>
      <dgm:spPr/>
      <dgm:t>
        <a:bodyPr/>
        <a:lstStyle/>
        <a:p>
          <a:pPr>
            <a:lnSpc>
              <a:spcPct val="100000"/>
            </a:lnSpc>
          </a:pPr>
          <a:r>
            <a:rPr lang="en-US" b="0" i="0" dirty="0"/>
            <a:t>10,000 management groups can be supported in a single directory.</a:t>
          </a:r>
          <a:endParaRPr lang="en-US" dirty="0"/>
        </a:p>
      </dgm:t>
    </dgm:pt>
    <dgm:pt modelId="{123C7DDC-46A3-4F6A-8BD2-39CBF8B10C54}" type="parTrans" cxnId="{2731EB3A-1EB8-4B4B-AA80-48ED8D0C9C2E}">
      <dgm:prSet/>
      <dgm:spPr/>
      <dgm:t>
        <a:bodyPr/>
        <a:lstStyle/>
        <a:p>
          <a:endParaRPr lang="en-US"/>
        </a:p>
      </dgm:t>
    </dgm:pt>
    <dgm:pt modelId="{55D1F580-F470-49A0-B0C7-165C9314AAFF}" type="sibTrans" cxnId="{2731EB3A-1EB8-4B4B-AA80-48ED8D0C9C2E}">
      <dgm:prSet/>
      <dgm:spPr/>
      <dgm:t>
        <a:bodyPr/>
        <a:lstStyle/>
        <a:p>
          <a:endParaRPr lang="en-US"/>
        </a:p>
      </dgm:t>
    </dgm:pt>
    <dgm:pt modelId="{6E774444-D981-45A3-84E5-DCE5ABCB12F3}">
      <dgm:prSet/>
      <dgm:spPr/>
      <dgm:t>
        <a:bodyPr/>
        <a:lstStyle/>
        <a:p>
          <a:pPr>
            <a:lnSpc>
              <a:spcPct val="100000"/>
            </a:lnSpc>
          </a:pPr>
          <a:r>
            <a:rPr lang="en-US" b="0" i="0"/>
            <a:t>A management group tree can support up to six levels of depth.</a:t>
          </a:r>
          <a:endParaRPr lang="en-US"/>
        </a:p>
      </dgm:t>
    </dgm:pt>
    <dgm:pt modelId="{12F9BF5D-30CE-439D-B199-313269B0C41E}" type="parTrans" cxnId="{4A95D13C-C38C-4961-AEE8-8EAEE7C9F328}">
      <dgm:prSet/>
      <dgm:spPr/>
      <dgm:t>
        <a:bodyPr/>
        <a:lstStyle/>
        <a:p>
          <a:endParaRPr lang="en-US"/>
        </a:p>
      </dgm:t>
    </dgm:pt>
    <dgm:pt modelId="{C7F83BD3-6717-4935-B83A-A09DBBCC13FE}" type="sibTrans" cxnId="{4A95D13C-C38C-4961-AEE8-8EAEE7C9F328}">
      <dgm:prSet/>
      <dgm:spPr/>
      <dgm:t>
        <a:bodyPr/>
        <a:lstStyle/>
        <a:p>
          <a:endParaRPr lang="en-US"/>
        </a:p>
      </dgm:t>
    </dgm:pt>
    <dgm:pt modelId="{7BD34913-D269-4BAF-AD97-F486E78DC4E5}">
      <dgm:prSet/>
      <dgm:spPr/>
      <dgm:t>
        <a:bodyPr/>
        <a:lstStyle/>
        <a:p>
          <a:pPr>
            <a:lnSpc>
              <a:spcPct val="100000"/>
            </a:lnSpc>
          </a:pPr>
          <a:r>
            <a:rPr lang="en-US" b="0" i="0"/>
            <a:t>Each management group and subscription can only support one parent.</a:t>
          </a:r>
          <a:endParaRPr lang="en-US"/>
        </a:p>
      </dgm:t>
    </dgm:pt>
    <dgm:pt modelId="{E550C189-D65C-4352-A767-E7CA091814C7}" type="parTrans" cxnId="{A097164C-A291-4E8C-BC7F-8AF3551EA620}">
      <dgm:prSet/>
      <dgm:spPr/>
      <dgm:t>
        <a:bodyPr/>
        <a:lstStyle/>
        <a:p>
          <a:endParaRPr lang="en-US"/>
        </a:p>
      </dgm:t>
    </dgm:pt>
    <dgm:pt modelId="{C57B471A-92A1-49E3-992E-15AF3A38D49E}" type="sibTrans" cxnId="{A097164C-A291-4E8C-BC7F-8AF3551EA620}">
      <dgm:prSet/>
      <dgm:spPr/>
      <dgm:t>
        <a:bodyPr/>
        <a:lstStyle/>
        <a:p>
          <a:endParaRPr lang="en-US"/>
        </a:p>
      </dgm:t>
    </dgm:pt>
    <dgm:pt modelId="{8B7FFE95-5625-4EA3-8607-394BBC825F22}">
      <dgm:prSet/>
      <dgm:spPr/>
      <dgm:t>
        <a:bodyPr/>
        <a:lstStyle/>
        <a:p>
          <a:pPr>
            <a:lnSpc>
              <a:spcPct val="100000"/>
            </a:lnSpc>
          </a:pPr>
          <a:r>
            <a:rPr lang="en-US" b="0" i="0"/>
            <a:t>Each management group can have multiple children.</a:t>
          </a:r>
          <a:endParaRPr lang="en-US"/>
        </a:p>
      </dgm:t>
    </dgm:pt>
    <dgm:pt modelId="{EA04CB47-7609-4B18-9D37-CC1170ED40C6}" type="parTrans" cxnId="{944D229C-FB44-4611-AEF0-3572950FF0B5}">
      <dgm:prSet/>
      <dgm:spPr/>
      <dgm:t>
        <a:bodyPr/>
        <a:lstStyle/>
        <a:p>
          <a:endParaRPr lang="en-US"/>
        </a:p>
      </dgm:t>
    </dgm:pt>
    <dgm:pt modelId="{D09DAAFD-535C-4246-85A1-1BF0401772F2}" type="sibTrans" cxnId="{944D229C-FB44-4611-AEF0-3572950FF0B5}">
      <dgm:prSet/>
      <dgm:spPr/>
      <dgm:t>
        <a:bodyPr/>
        <a:lstStyle/>
        <a:p>
          <a:endParaRPr lang="en-US"/>
        </a:p>
      </dgm:t>
    </dgm:pt>
    <dgm:pt modelId="{C5717A3A-CF1E-4527-A965-EB9C74D15523}">
      <dgm:prSet/>
      <dgm:spPr/>
      <dgm:t>
        <a:bodyPr/>
        <a:lstStyle/>
        <a:p>
          <a:pPr>
            <a:lnSpc>
              <a:spcPct val="100000"/>
            </a:lnSpc>
          </a:pPr>
          <a:r>
            <a:rPr lang="en-US" b="0" i="0"/>
            <a:t>All subscriptions and management groups are contained within a single hierarchy in each directory.</a:t>
          </a:r>
          <a:endParaRPr lang="en-US"/>
        </a:p>
      </dgm:t>
    </dgm:pt>
    <dgm:pt modelId="{CCB92E1C-5275-4FB4-A6D0-CE9241972A56}" type="parTrans" cxnId="{25F17904-439D-4F88-A455-4755550400D2}">
      <dgm:prSet/>
      <dgm:spPr/>
      <dgm:t>
        <a:bodyPr/>
        <a:lstStyle/>
        <a:p>
          <a:endParaRPr lang="en-US"/>
        </a:p>
      </dgm:t>
    </dgm:pt>
    <dgm:pt modelId="{116BA53D-F5F3-4A29-98B0-A44918C8E8C5}" type="sibTrans" cxnId="{25F17904-439D-4F88-A455-4755550400D2}">
      <dgm:prSet/>
      <dgm:spPr/>
      <dgm:t>
        <a:bodyPr/>
        <a:lstStyle/>
        <a:p>
          <a:endParaRPr lang="en-US"/>
        </a:p>
      </dgm:t>
    </dgm:pt>
    <dgm:pt modelId="{0388089A-5EED-493C-A20B-66E929F71750}" type="pres">
      <dgm:prSet presAssocID="{997F9133-D6D6-4C93-B3AD-DA7A9A09A675}" presName="root" presStyleCnt="0">
        <dgm:presLayoutVars>
          <dgm:dir/>
          <dgm:resizeHandles val="exact"/>
        </dgm:presLayoutVars>
      </dgm:prSet>
      <dgm:spPr/>
    </dgm:pt>
    <dgm:pt modelId="{7F27AFA1-293C-45BD-9F6B-FEA4FA6462FD}" type="pres">
      <dgm:prSet presAssocID="{3DA1EC31-3FC3-40F9-A13A-F005FBC20701}" presName="compNode" presStyleCnt="0"/>
      <dgm:spPr/>
    </dgm:pt>
    <dgm:pt modelId="{0C455580-0D0E-41B4-AE60-EA7FCA80DA8D}" type="pres">
      <dgm:prSet presAssocID="{3DA1EC31-3FC3-40F9-A13A-F005FBC20701}" presName="bgRect" presStyleLbl="bgShp" presStyleIdx="0" presStyleCnt="5"/>
      <dgm:spPr/>
    </dgm:pt>
    <dgm:pt modelId="{92F8767D-63D4-4EF0-A85E-BBD4344C1A97}" type="pres">
      <dgm:prSet presAssocID="{3DA1EC31-3FC3-40F9-A13A-F005FBC20701}"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Hierarchy"/>
        </a:ext>
      </dgm:extLst>
    </dgm:pt>
    <dgm:pt modelId="{3AF4C6F3-868D-41BB-A28B-8F0CA7ACE384}" type="pres">
      <dgm:prSet presAssocID="{3DA1EC31-3FC3-40F9-A13A-F005FBC20701}" presName="spaceRect" presStyleCnt="0"/>
      <dgm:spPr/>
    </dgm:pt>
    <dgm:pt modelId="{DF77B986-12F8-47E7-B2CA-4D0312BABAEC}" type="pres">
      <dgm:prSet presAssocID="{3DA1EC31-3FC3-40F9-A13A-F005FBC20701}" presName="parTx" presStyleLbl="revTx" presStyleIdx="0" presStyleCnt="5">
        <dgm:presLayoutVars>
          <dgm:chMax val="0"/>
          <dgm:chPref val="0"/>
        </dgm:presLayoutVars>
      </dgm:prSet>
      <dgm:spPr/>
    </dgm:pt>
    <dgm:pt modelId="{DDCCEDB4-2239-43A5-9752-DEC4CA5AB2A6}" type="pres">
      <dgm:prSet presAssocID="{55D1F580-F470-49A0-B0C7-165C9314AAFF}" presName="sibTrans" presStyleCnt="0"/>
      <dgm:spPr/>
    </dgm:pt>
    <dgm:pt modelId="{1BA23A87-0BA6-47C3-A1D8-EA4D0455A6F5}" type="pres">
      <dgm:prSet presAssocID="{6E774444-D981-45A3-84E5-DCE5ABCB12F3}" presName="compNode" presStyleCnt="0"/>
      <dgm:spPr/>
    </dgm:pt>
    <dgm:pt modelId="{9BA718A0-C909-4020-AC9E-EDBFB800439C}" type="pres">
      <dgm:prSet presAssocID="{6E774444-D981-45A3-84E5-DCE5ABCB12F3}" presName="bgRect" presStyleLbl="bgShp" presStyleIdx="1" presStyleCnt="5"/>
      <dgm:spPr/>
    </dgm:pt>
    <dgm:pt modelId="{D78B4224-08FB-4007-BD4A-70E73539E3CD}" type="pres">
      <dgm:prSet presAssocID="{6E774444-D981-45A3-84E5-DCE5ABCB12F3}" presName="iconRect" presStyleLbl="node1" presStyleIdx="1" presStyleCnt="5"/>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Database"/>
        </a:ext>
      </dgm:extLst>
    </dgm:pt>
    <dgm:pt modelId="{63F293EA-4D28-4457-9FF5-773FCC3E1239}" type="pres">
      <dgm:prSet presAssocID="{6E774444-D981-45A3-84E5-DCE5ABCB12F3}" presName="spaceRect" presStyleCnt="0"/>
      <dgm:spPr/>
    </dgm:pt>
    <dgm:pt modelId="{4E75DDDA-EDE6-4849-AF61-B9E0EF224890}" type="pres">
      <dgm:prSet presAssocID="{6E774444-D981-45A3-84E5-DCE5ABCB12F3}" presName="parTx" presStyleLbl="revTx" presStyleIdx="1" presStyleCnt="5">
        <dgm:presLayoutVars>
          <dgm:chMax val="0"/>
          <dgm:chPref val="0"/>
        </dgm:presLayoutVars>
      </dgm:prSet>
      <dgm:spPr/>
    </dgm:pt>
    <dgm:pt modelId="{14EFB688-E34B-42C8-9089-7480DF444E60}" type="pres">
      <dgm:prSet presAssocID="{C7F83BD3-6717-4935-B83A-A09DBBCC13FE}" presName="sibTrans" presStyleCnt="0"/>
      <dgm:spPr/>
    </dgm:pt>
    <dgm:pt modelId="{AF29941A-F3A1-44F1-B180-24859A77E07C}" type="pres">
      <dgm:prSet presAssocID="{7BD34913-D269-4BAF-AD97-F486E78DC4E5}" presName="compNode" presStyleCnt="0"/>
      <dgm:spPr/>
    </dgm:pt>
    <dgm:pt modelId="{AE7A4A1D-85D5-4C63-96D4-2A569818D23A}" type="pres">
      <dgm:prSet presAssocID="{7BD34913-D269-4BAF-AD97-F486E78DC4E5}" presName="bgRect" presStyleLbl="bgShp" presStyleIdx="2" presStyleCnt="5"/>
      <dgm:spPr/>
    </dgm:pt>
    <dgm:pt modelId="{9CD51CF9-128C-46B5-B1F6-D0D9169AC780}" type="pres">
      <dgm:prSet presAssocID="{7BD34913-D269-4BAF-AD97-F486E78DC4E5}"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ser"/>
        </a:ext>
      </dgm:extLst>
    </dgm:pt>
    <dgm:pt modelId="{D0B1AA32-AACD-4988-BF20-76876F90B3DE}" type="pres">
      <dgm:prSet presAssocID="{7BD34913-D269-4BAF-AD97-F486E78DC4E5}" presName="spaceRect" presStyleCnt="0"/>
      <dgm:spPr/>
    </dgm:pt>
    <dgm:pt modelId="{C2F18355-8F63-4F57-ACA3-55E85757975C}" type="pres">
      <dgm:prSet presAssocID="{7BD34913-D269-4BAF-AD97-F486E78DC4E5}" presName="parTx" presStyleLbl="revTx" presStyleIdx="2" presStyleCnt="5">
        <dgm:presLayoutVars>
          <dgm:chMax val="0"/>
          <dgm:chPref val="0"/>
        </dgm:presLayoutVars>
      </dgm:prSet>
      <dgm:spPr/>
    </dgm:pt>
    <dgm:pt modelId="{8E1CBA5E-1727-4014-8D04-F594C6E001FF}" type="pres">
      <dgm:prSet presAssocID="{C57B471A-92A1-49E3-992E-15AF3A38D49E}" presName="sibTrans" presStyleCnt="0"/>
      <dgm:spPr/>
    </dgm:pt>
    <dgm:pt modelId="{EFA3367E-268F-403A-8A0D-752977AC5945}" type="pres">
      <dgm:prSet presAssocID="{8B7FFE95-5625-4EA3-8607-394BBC825F22}" presName="compNode" presStyleCnt="0"/>
      <dgm:spPr/>
    </dgm:pt>
    <dgm:pt modelId="{C51D47E4-5154-413E-8197-5CBCD0B44406}" type="pres">
      <dgm:prSet presAssocID="{8B7FFE95-5625-4EA3-8607-394BBC825F22}" presName="bgRect" presStyleLbl="bgShp" presStyleIdx="3" presStyleCnt="5"/>
      <dgm:spPr/>
    </dgm:pt>
    <dgm:pt modelId="{6B7517BC-5CD2-4662-BBE3-82A86FFBA9A3}" type="pres">
      <dgm:prSet presAssocID="{8B7FFE95-5625-4EA3-8607-394BBC825F22}"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ildren"/>
        </a:ext>
      </dgm:extLst>
    </dgm:pt>
    <dgm:pt modelId="{6EE206E3-2318-40C7-BFD6-939A451C15BD}" type="pres">
      <dgm:prSet presAssocID="{8B7FFE95-5625-4EA3-8607-394BBC825F22}" presName="spaceRect" presStyleCnt="0"/>
      <dgm:spPr/>
    </dgm:pt>
    <dgm:pt modelId="{31EEAAEC-A5C6-4DE4-9093-D47BB0A26377}" type="pres">
      <dgm:prSet presAssocID="{8B7FFE95-5625-4EA3-8607-394BBC825F22}" presName="parTx" presStyleLbl="revTx" presStyleIdx="3" presStyleCnt="5">
        <dgm:presLayoutVars>
          <dgm:chMax val="0"/>
          <dgm:chPref val="0"/>
        </dgm:presLayoutVars>
      </dgm:prSet>
      <dgm:spPr/>
    </dgm:pt>
    <dgm:pt modelId="{B8E1791A-8761-4125-B507-4F11DDAAB15F}" type="pres">
      <dgm:prSet presAssocID="{D09DAAFD-535C-4246-85A1-1BF0401772F2}" presName="sibTrans" presStyleCnt="0"/>
      <dgm:spPr/>
    </dgm:pt>
    <dgm:pt modelId="{08EC7DDD-58D9-4779-B38A-8429F9848145}" type="pres">
      <dgm:prSet presAssocID="{C5717A3A-CF1E-4527-A965-EB9C74D15523}" presName="compNode" presStyleCnt="0"/>
      <dgm:spPr/>
    </dgm:pt>
    <dgm:pt modelId="{26C2FA5B-068E-416D-90B5-AC3F3DE92258}" type="pres">
      <dgm:prSet presAssocID="{C5717A3A-CF1E-4527-A965-EB9C74D15523}" presName="bgRect" presStyleLbl="bgShp" presStyleIdx="4" presStyleCnt="5"/>
      <dgm:spPr/>
    </dgm:pt>
    <dgm:pt modelId="{4F755CD7-B51B-4062-8A86-CCCE1523D410}" type="pres">
      <dgm:prSet presAssocID="{C5717A3A-CF1E-4527-A965-EB9C74D15523}"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Link"/>
        </a:ext>
      </dgm:extLst>
    </dgm:pt>
    <dgm:pt modelId="{B16ED698-7B15-4C1B-AD54-BF22A9F25898}" type="pres">
      <dgm:prSet presAssocID="{C5717A3A-CF1E-4527-A965-EB9C74D15523}" presName="spaceRect" presStyleCnt="0"/>
      <dgm:spPr/>
    </dgm:pt>
    <dgm:pt modelId="{8CD505E6-0D83-41E1-9155-9E2767D57D10}" type="pres">
      <dgm:prSet presAssocID="{C5717A3A-CF1E-4527-A965-EB9C74D15523}" presName="parTx" presStyleLbl="revTx" presStyleIdx="4" presStyleCnt="5">
        <dgm:presLayoutVars>
          <dgm:chMax val="0"/>
          <dgm:chPref val="0"/>
        </dgm:presLayoutVars>
      </dgm:prSet>
      <dgm:spPr/>
    </dgm:pt>
  </dgm:ptLst>
  <dgm:cxnLst>
    <dgm:cxn modelId="{25F17904-439D-4F88-A455-4755550400D2}" srcId="{997F9133-D6D6-4C93-B3AD-DA7A9A09A675}" destId="{C5717A3A-CF1E-4527-A965-EB9C74D15523}" srcOrd="4" destOrd="0" parTransId="{CCB92E1C-5275-4FB4-A6D0-CE9241972A56}" sibTransId="{116BA53D-F5F3-4A29-98B0-A44918C8E8C5}"/>
    <dgm:cxn modelId="{EA3A2810-3B17-4A7E-A684-069F41878D84}" type="presOf" srcId="{6E774444-D981-45A3-84E5-DCE5ABCB12F3}" destId="{4E75DDDA-EDE6-4849-AF61-B9E0EF224890}" srcOrd="0" destOrd="0" presId="urn:microsoft.com/office/officeart/2018/2/layout/IconVerticalSolidList"/>
    <dgm:cxn modelId="{A8A7FD29-7C7C-49EA-9FEA-BC480CE82357}" type="presOf" srcId="{7BD34913-D269-4BAF-AD97-F486E78DC4E5}" destId="{C2F18355-8F63-4F57-ACA3-55E85757975C}" srcOrd="0" destOrd="0" presId="urn:microsoft.com/office/officeart/2018/2/layout/IconVerticalSolidList"/>
    <dgm:cxn modelId="{2731EB3A-1EB8-4B4B-AA80-48ED8D0C9C2E}" srcId="{997F9133-D6D6-4C93-B3AD-DA7A9A09A675}" destId="{3DA1EC31-3FC3-40F9-A13A-F005FBC20701}" srcOrd="0" destOrd="0" parTransId="{123C7DDC-46A3-4F6A-8BD2-39CBF8B10C54}" sibTransId="{55D1F580-F470-49A0-B0C7-165C9314AAFF}"/>
    <dgm:cxn modelId="{AE423F3B-E850-4192-8C03-5023AC7732DC}" type="presOf" srcId="{997F9133-D6D6-4C93-B3AD-DA7A9A09A675}" destId="{0388089A-5EED-493C-A20B-66E929F71750}" srcOrd="0" destOrd="0" presId="urn:microsoft.com/office/officeart/2018/2/layout/IconVerticalSolidList"/>
    <dgm:cxn modelId="{4A95D13C-C38C-4961-AEE8-8EAEE7C9F328}" srcId="{997F9133-D6D6-4C93-B3AD-DA7A9A09A675}" destId="{6E774444-D981-45A3-84E5-DCE5ABCB12F3}" srcOrd="1" destOrd="0" parTransId="{12F9BF5D-30CE-439D-B199-313269B0C41E}" sibTransId="{C7F83BD3-6717-4935-B83A-A09DBBCC13FE}"/>
    <dgm:cxn modelId="{A097164C-A291-4E8C-BC7F-8AF3551EA620}" srcId="{997F9133-D6D6-4C93-B3AD-DA7A9A09A675}" destId="{7BD34913-D269-4BAF-AD97-F486E78DC4E5}" srcOrd="2" destOrd="0" parTransId="{E550C189-D65C-4352-A767-E7CA091814C7}" sibTransId="{C57B471A-92A1-49E3-992E-15AF3A38D49E}"/>
    <dgm:cxn modelId="{F0B0C56D-15C6-4280-B550-75043B6B94B2}" type="presOf" srcId="{8B7FFE95-5625-4EA3-8607-394BBC825F22}" destId="{31EEAAEC-A5C6-4DE4-9093-D47BB0A26377}" srcOrd="0" destOrd="0" presId="urn:microsoft.com/office/officeart/2018/2/layout/IconVerticalSolidList"/>
    <dgm:cxn modelId="{5DE27E98-3DE3-4902-8FAF-91EE7349715C}" type="presOf" srcId="{3DA1EC31-3FC3-40F9-A13A-F005FBC20701}" destId="{DF77B986-12F8-47E7-B2CA-4D0312BABAEC}" srcOrd="0" destOrd="0" presId="urn:microsoft.com/office/officeart/2018/2/layout/IconVerticalSolidList"/>
    <dgm:cxn modelId="{944D229C-FB44-4611-AEF0-3572950FF0B5}" srcId="{997F9133-D6D6-4C93-B3AD-DA7A9A09A675}" destId="{8B7FFE95-5625-4EA3-8607-394BBC825F22}" srcOrd="3" destOrd="0" parTransId="{EA04CB47-7609-4B18-9D37-CC1170ED40C6}" sibTransId="{D09DAAFD-535C-4246-85A1-1BF0401772F2}"/>
    <dgm:cxn modelId="{E916A3E9-41DE-4B39-82B8-46DB95BCCAC6}" type="presOf" srcId="{C5717A3A-CF1E-4527-A965-EB9C74D15523}" destId="{8CD505E6-0D83-41E1-9155-9E2767D57D10}" srcOrd="0" destOrd="0" presId="urn:microsoft.com/office/officeart/2018/2/layout/IconVerticalSolidList"/>
    <dgm:cxn modelId="{7B2C8309-DDF8-4FF0-B18F-E2215123B93D}" type="presParOf" srcId="{0388089A-5EED-493C-A20B-66E929F71750}" destId="{7F27AFA1-293C-45BD-9F6B-FEA4FA6462FD}" srcOrd="0" destOrd="0" presId="urn:microsoft.com/office/officeart/2018/2/layout/IconVerticalSolidList"/>
    <dgm:cxn modelId="{A36CEAF3-4D23-4763-8B23-6EFC251A98D7}" type="presParOf" srcId="{7F27AFA1-293C-45BD-9F6B-FEA4FA6462FD}" destId="{0C455580-0D0E-41B4-AE60-EA7FCA80DA8D}" srcOrd="0" destOrd="0" presId="urn:microsoft.com/office/officeart/2018/2/layout/IconVerticalSolidList"/>
    <dgm:cxn modelId="{3D8E657E-54A0-4958-BE23-9D31C01B3959}" type="presParOf" srcId="{7F27AFA1-293C-45BD-9F6B-FEA4FA6462FD}" destId="{92F8767D-63D4-4EF0-A85E-BBD4344C1A97}" srcOrd="1" destOrd="0" presId="urn:microsoft.com/office/officeart/2018/2/layout/IconVerticalSolidList"/>
    <dgm:cxn modelId="{AD14B3C8-1712-4151-89A5-FD951CCBF9DA}" type="presParOf" srcId="{7F27AFA1-293C-45BD-9F6B-FEA4FA6462FD}" destId="{3AF4C6F3-868D-41BB-A28B-8F0CA7ACE384}" srcOrd="2" destOrd="0" presId="urn:microsoft.com/office/officeart/2018/2/layout/IconVerticalSolidList"/>
    <dgm:cxn modelId="{1E37FD4E-E930-47AA-BA4B-EE69835067B1}" type="presParOf" srcId="{7F27AFA1-293C-45BD-9F6B-FEA4FA6462FD}" destId="{DF77B986-12F8-47E7-B2CA-4D0312BABAEC}" srcOrd="3" destOrd="0" presId="urn:microsoft.com/office/officeart/2018/2/layout/IconVerticalSolidList"/>
    <dgm:cxn modelId="{BAE995B6-5BFA-4400-B059-B8BEEEB59093}" type="presParOf" srcId="{0388089A-5EED-493C-A20B-66E929F71750}" destId="{DDCCEDB4-2239-43A5-9752-DEC4CA5AB2A6}" srcOrd="1" destOrd="0" presId="urn:microsoft.com/office/officeart/2018/2/layout/IconVerticalSolidList"/>
    <dgm:cxn modelId="{A027F220-9FB2-4070-BC46-3B6AF285AFE4}" type="presParOf" srcId="{0388089A-5EED-493C-A20B-66E929F71750}" destId="{1BA23A87-0BA6-47C3-A1D8-EA4D0455A6F5}" srcOrd="2" destOrd="0" presId="urn:microsoft.com/office/officeart/2018/2/layout/IconVerticalSolidList"/>
    <dgm:cxn modelId="{CD0583B0-C0B2-47DD-BB65-B1B8F13DD065}" type="presParOf" srcId="{1BA23A87-0BA6-47C3-A1D8-EA4D0455A6F5}" destId="{9BA718A0-C909-4020-AC9E-EDBFB800439C}" srcOrd="0" destOrd="0" presId="urn:microsoft.com/office/officeart/2018/2/layout/IconVerticalSolidList"/>
    <dgm:cxn modelId="{2BB0FD17-4909-4215-9895-5D622EFB1F6B}" type="presParOf" srcId="{1BA23A87-0BA6-47C3-A1D8-EA4D0455A6F5}" destId="{D78B4224-08FB-4007-BD4A-70E73539E3CD}" srcOrd="1" destOrd="0" presId="urn:microsoft.com/office/officeart/2018/2/layout/IconVerticalSolidList"/>
    <dgm:cxn modelId="{3ECA9CFF-1E28-4D3E-BC63-45AAC1BFE263}" type="presParOf" srcId="{1BA23A87-0BA6-47C3-A1D8-EA4D0455A6F5}" destId="{63F293EA-4D28-4457-9FF5-773FCC3E1239}" srcOrd="2" destOrd="0" presId="urn:microsoft.com/office/officeart/2018/2/layout/IconVerticalSolidList"/>
    <dgm:cxn modelId="{3F01A54E-45A3-4197-9B18-4FE458BA4B4B}" type="presParOf" srcId="{1BA23A87-0BA6-47C3-A1D8-EA4D0455A6F5}" destId="{4E75DDDA-EDE6-4849-AF61-B9E0EF224890}" srcOrd="3" destOrd="0" presId="urn:microsoft.com/office/officeart/2018/2/layout/IconVerticalSolidList"/>
    <dgm:cxn modelId="{8C318318-22BE-4641-B296-A48591BDF8F3}" type="presParOf" srcId="{0388089A-5EED-493C-A20B-66E929F71750}" destId="{14EFB688-E34B-42C8-9089-7480DF444E60}" srcOrd="3" destOrd="0" presId="urn:microsoft.com/office/officeart/2018/2/layout/IconVerticalSolidList"/>
    <dgm:cxn modelId="{33638EF0-2DB2-4287-B875-8F48D86F2DA2}" type="presParOf" srcId="{0388089A-5EED-493C-A20B-66E929F71750}" destId="{AF29941A-F3A1-44F1-B180-24859A77E07C}" srcOrd="4" destOrd="0" presId="urn:microsoft.com/office/officeart/2018/2/layout/IconVerticalSolidList"/>
    <dgm:cxn modelId="{3B47870E-7904-43DD-BFB8-9D60D96D7E77}" type="presParOf" srcId="{AF29941A-F3A1-44F1-B180-24859A77E07C}" destId="{AE7A4A1D-85D5-4C63-96D4-2A569818D23A}" srcOrd="0" destOrd="0" presId="urn:microsoft.com/office/officeart/2018/2/layout/IconVerticalSolidList"/>
    <dgm:cxn modelId="{660516B8-DA4A-4E08-97B5-E2E93C1BA7EC}" type="presParOf" srcId="{AF29941A-F3A1-44F1-B180-24859A77E07C}" destId="{9CD51CF9-128C-46B5-B1F6-D0D9169AC780}" srcOrd="1" destOrd="0" presId="urn:microsoft.com/office/officeart/2018/2/layout/IconVerticalSolidList"/>
    <dgm:cxn modelId="{22FE803F-889C-43DD-A2E1-D86FC78AAD05}" type="presParOf" srcId="{AF29941A-F3A1-44F1-B180-24859A77E07C}" destId="{D0B1AA32-AACD-4988-BF20-76876F90B3DE}" srcOrd="2" destOrd="0" presId="urn:microsoft.com/office/officeart/2018/2/layout/IconVerticalSolidList"/>
    <dgm:cxn modelId="{9E106A8E-BD6F-49B4-A62C-03A2D227D277}" type="presParOf" srcId="{AF29941A-F3A1-44F1-B180-24859A77E07C}" destId="{C2F18355-8F63-4F57-ACA3-55E85757975C}" srcOrd="3" destOrd="0" presId="urn:microsoft.com/office/officeart/2018/2/layout/IconVerticalSolidList"/>
    <dgm:cxn modelId="{AD238D00-6C6F-4F61-9D87-54B883BC0D31}" type="presParOf" srcId="{0388089A-5EED-493C-A20B-66E929F71750}" destId="{8E1CBA5E-1727-4014-8D04-F594C6E001FF}" srcOrd="5" destOrd="0" presId="urn:microsoft.com/office/officeart/2018/2/layout/IconVerticalSolidList"/>
    <dgm:cxn modelId="{313EE2D1-130C-4F3D-A16B-EE85A47326A9}" type="presParOf" srcId="{0388089A-5EED-493C-A20B-66E929F71750}" destId="{EFA3367E-268F-403A-8A0D-752977AC5945}" srcOrd="6" destOrd="0" presId="urn:microsoft.com/office/officeart/2018/2/layout/IconVerticalSolidList"/>
    <dgm:cxn modelId="{4C308363-7547-4D7E-8132-6170B9CC528C}" type="presParOf" srcId="{EFA3367E-268F-403A-8A0D-752977AC5945}" destId="{C51D47E4-5154-413E-8197-5CBCD0B44406}" srcOrd="0" destOrd="0" presId="urn:microsoft.com/office/officeart/2018/2/layout/IconVerticalSolidList"/>
    <dgm:cxn modelId="{45B384FA-4170-45E5-A65C-2765584F1743}" type="presParOf" srcId="{EFA3367E-268F-403A-8A0D-752977AC5945}" destId="{6B7517BC-5CD2-4662-BBE3-82A86FFBA9A3}" srcOrd="1" destOrd="0" presId="urn:microsoft.com/office/officeart/2018/2/layout/IconVerticalSolidList"/>
    <dgm:cxn modelId="{E6072EFA-EE57-4B5D-B865-443ED4DFCE19}" type="presParOf" srcId="{EFA3367E-268F-403A-8A0D-752977AC5945}" destId="{6EE206E3-2318-40C7-BFD6-939A451C15BD}" srcOrd="2" destOrd="0" presId="urn:microsoft.com/office/officeart/2018/2/layout/IconVerticalSolidList"/>
    <dgm:cxn modelId="{ED49E20A-AE15-4650-A471-D8A62415BF26}" type="presParOf" srcId="{EFA3367E-268F-403A-8A0D-752977AC5945}" destId="{31EEAAEC-A5C6-4DE4-9093-D47BB0A26377}" srcOrd="3" destOrd="0" presId="urn:microsoft.com/office/officeart/2018/2/layout/IconVerticalSolidList"/>
    <dgm:cxn modelId="{5785910B-6D32-42D3-82D8-2FE3080E4F45}" type="presParOf" srcId="{0388089A-5EED-493C-A20B-66E929F71750}" destId="{B8E1791A-8761-4125-B507-4F11DDAAB15F}" srcOrd="7" destOrd="0" presId="urn:microsoft.com/office/officeart/2018/2/layout/IconVerticalSolidList"/>
    <dgm:cxn modelId="{56D45B0D-A12A-4BD0-B706-904C442DE897}" type="presParOf" srcId="{0388089A-5EED-493C-A20B-66E929F71750}" destId="{08EC7DDD-58D9-4779-B38A-8429F9848145}" srcOrd="8" destOrd="0" presId="urn:microsoft.com/office/officeart/2018/2/layout/IconVerticalSolidList"/>
    <dgm:cxn modelId="{087B52C0-F30A-419D-BB20-C3BBA0B12EF4}" type="presParOf" srcId="{08EC7DDD-58D9-4779-B38A-8429F9848145}" destId="{26C2FA5B-068E-416D-90B5-AC3F3DE92258}" srcOrd="0" destOrd="0" presId="urn:microsoft.com/office/officeart/2018/2/layout/IconVerticalSolidList"/>
    <dgm:cxn modelId="{3697BF21-6040-45F0-BF15-91EE824A83F3}" type="presParOf" srcId="{08EC7DDD-58D9-4779-B38A-8429F9848145}" destId="{4F755CD7-B51B-4062-8A86-CCCE1523D410}" srcOrd="1" destOrd="0" presId="urn:microsoft.com/office/officeart/2018/2/layout/IconVerticalSolidList"/>
    <dgm:cxn modelId="{3B69219D-4944-4609-B24D-47EFFBF105D0}" type="presParOf" srcId="{08EC7DDD-58D9-4779-B38A-8429F9848145}" destId="{B16ED698-7B15-4C1B-AD54-BF22A9F25898}" srcOrd="2" destOrd="0" presId="urn:microsoft.com/office/officeart/2018/2/layout/IconVerticalSolidList"/>
    <dgm:cxn modelId="{BA67BA5E-195D-4E32-AF91-6EC92645C853}" type="presParOf" srcId="{08EC7DDD-58D9-4779-B38A-8429F9848145}" destId="{8CD505E6-0D83-41E1-9155-9E2767D57D1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9E9C008-083D-4FBF-BC12-81A46EE479FA}" type="doc">
      <dgm:prSet loTypeId="urn:microsoft.com/office/officeart/2018/2/layout/IconLabelDescriptionList" loCatId="icon" qsTypeId="urn:microsoft.com/office/officeart/2005/8/quickstyle/simple4" qsCatId="simple" csTypeId="urn:microsoft.com/office/officeart/2018/5/colors/Iconchunking_neutralbg_accent1_2" csCatId="accent1" phldr="1"/>
      <dgm:spPr/>
      <dgm:t>
        <a:bodyPr/>
        <a:lstStyle/>
        <a:p>
          <a:endParaRPr lang="en-US"/>
        </a:p>
      </dgm:t>
    </dgm:pt>
    <dgm:pt modelId="{70CACC39-85F1-4EAB-B496-D292F6F46402}">
      <dgm:prSet/>
      <dgm:spPr/>
      <dgm:t>
        <a:bodyPr/>
        <a:lstStyle/>
        <a:p>
          <a:pPr>
            <a:lnSpc>
              <a:spcPct val="100000"/>
            </a:lnSpc>
            <a:defRPr b="1"/>
          </a:pPr>
          <a:r>
            <a:rPr lang="en-US" b="0" i="0" dirty="0"/>
            <a:t>The root management group can't be moved</a:t>
          </a:r>
          <a:endParaRPr lang="en-US" dirty="0"/>
        </a:p>
      </dgm:t>
    </dgm:pt>
    <dgm:pt modelId="{36A8FDD2-9CB8-47BA-8E2F-83A2D4C84667}" type="parTrans" cxnId="{FCC7331B-4838-48C3-AF90-069F6648BE19}">
      <dgm:prSet/>
      <dgm:spPr/>
      <dgm:t>
        <a:bodyPr/>
        <a:lstStyle/>
        <a:p>
          <a:endParaRPr lang="en-US"/>
        </a:p>
      </dgm:t>
    </dgm:pt>
    <dgm:pt modelId="{454982C3-CEF4-4A4B-981C-B054481C8F4B}" type="sibTrans" cxnId="{FCC7331B-4838-48C3-AF90-069F6648BE19}">
      <dgm:prSet/>
      <dgm:spPr/>
      <dgm:t>
        <a:bodyPr/>
        <a:lstStyle/>
        <a:p>
          <a:endParaRPr lang="en-US"/>
        </a:p>
      </dgm:t>
    </dgm:pt>
    <dgm:pt modelId="{D46F09C1-FCD9-43BB-9665-CC7797D82FD1}">
      <dgm:prSet/>
      <dgm:spPr/>
      <dgm:t>
        <a:bodyPr/>
        <a:lstStyle/>
        <a:p>
          <a:pPr>
            <a:lnSpc>
              <a:spcPct val="100000"/>
            </a:lnSpc>
            <a:defRPr b="1"/>
          </a:pPr>
          <a:r>
            <a:rPr lang="en-US" b="0" i="0" dirty="0"/>
            <a:t>The </a:t>
          </a:r>
          <a:r>
            <a:rPr lang="en-US" b="0" i="0" u="sng" dirty="0">
              <a:hlinkClick xmlns:r="http://schemas.openxmlformats.org/officeDocument/2006/relationships" r:id="rId1"/>
            </a:rPr>
            <a:t>Directory Administrator needs to elevate themselves</a:t>
          </a:r>
          <a:r>
            <a:rPr lang="en-US" b="0" i="0" dirty="0"/>
            <a:t> to be the owner of this root group initially. Once the administrator is the owner of the group, they can assign any RBAC role to other directory users or groups to manage the hierarchy. </a:t>
          </a:r>
          <a:endParaRPr lang="en-US" dirty="0"/>
        </a:p>
      </dgm:t>
    </dgm:pt>
    <dgm:pt modelId="{7E251F78-62EF-4E87-8779-797DE00ADBEB}" type="parTrans" cxnId="{4596DD4F-297C-4E26-8113-48A0FE26E9D1}">
      <dgm:prSet/>
      <dgm:spPr/>
      <dgm:t>
        <a:bodyPr/>
        <a:lstStyle/>
        <a:p>
          <a:endParaRPr lang="en-US"/>
        </a:p>
      </dgm:t>
    </dgm:pt>
    <dgm:pt modelId="{3FC65A04-9A0D-4588-8E2B-D54124075432}" type="sibTrans" cxnId="{4596DD4F-297C-4E26-8113-48A0FE26E9D1}">
      <dgm:prSet/>
      <dgm:spPr/>
      <dgm:t>
        <a:bodyPr/>
        <a:lstStyle/>
        <a:p>
          <a:endParaRPr lang="en-US"/>
        </a:p>
      </dgm:t>
    </dgm:pt>
    <dgm:pt modelId="{3301828C-F67E-4305-B86D-BD7B0D386837}">
      <dgm:prSet/>
      <dgm:spPr/>
      <dgm:t>
        <a:bodyPr/>
        <a:lstStyle/>
        <a:p>
          <a:pPr>
            <a:lnSpc>
              <a:spcPct val="100000"/>
            </a:lnSpc>
            <a:defRPr b="1"/>
          </a:pPr>
          <a:r>
            <a:rPr lang="en-US" b="0" i="0"/>
            <a:t>All Azure customers can see the root management group, but not all customers have access to manage that root management group.</a:t>
          </a:r>
          <a:endParaRPr lang="en-US"/>
        </a:p>
      </dgm:t>
    </dgm:pt>
    <dgm:pt modelId="{A2DBC8E9-FEE5-4171-AFBF-9BD68E99906B}" type="parTrans" cxnId="{006E0B7F-1FD8-49B6-8D55-E33C625FD9C6}">
      <dgm:prSet/>
      <dgm:spPr/>
      <dgm:t>
        <a:bodyPr/>
        <a:lstStyle/>
        <a:p>
          <a:endParaRPr lang="en-US"/>
        </a:p>
      </dgm:t>
    </dgm:pt>
    <dgm:pt modelId="{A5DE859D-5613-482B-A736-94F534DEBE3A}" type="sibTrans" cxnId="{006E0B7F-1FD8-49B6-8D55-E33C625FD9C6}">
      <dgm:prSet/>
      <dgm:spPr/>
      <dgm:t>
        <a:bodyPr/>
        <a:lstStyle/>
        <a:p>
          <a:endParaRPr lang="en-US"/>
        </a:p>
      </dgm:t>
    </dgm:pt>
    <dgm:pt modelId="{8FF48FC1-BEE0-4F8C-84CD-F6BC1AF4B8A5}">
      <dgm:prSet/>
      <dgm:spPr/>
      <dgm:t>
        <a:bodyPr/>
        <a:lstStyle/>
        <a:p>
          <a:pPr>
            <a:lnSpc>
              <a:spcPct val="100000"/>
            </a:lnSpc>
            <a:defRPr b="1"/>
          </a:pPr>
          <a:r>
            <a:rPr lang="en-US" b="0" i="0"/>
            <a:t>No one is given default access to the root management group. </a:t>
          </a:r>
          <a:endParaRPr lang="en-US"/>
        </a:p>
      </dgm:t>
    </dgm:pt>
    <dgm:pt modelId="{9F6E3BF6-A183-492D-9866-46963CBC801E}" type="parTrans" cxnId="{C607F917-9A31-4983-BD40-BCDF65E28E93}">
      <dgm:prSet/>
      <dgm:spPr/>
      <dgm:t>
        <a:bodyPr/>
        <a:lstStyle/>
        <a:p>
          <a:endParaRPr lang="en-US"/>
        </a:p>
      </dgm:t>
    </dgm:pt>
    <dgm:pt modelId="{0AAA936F-F295-41CD-8C00-42242D413868}" type="sibTrans" cxnId="{C607F917-9A31-4983-BD40-BCDF65E28E93}">
      <dgm:prSet/>
      <dgm:spPr/>
      <dgm:t>
        <a:bodyPr/>
        <a:lstStyle/>
        <a:p>
          <a:endParaRPr lang="en-US"/>
        </a:p>
      </dgm:t>
    </dgm:pt>
    <dgm:pt modelId="{699F81AD-1140-4D45-A201-E79981919E0A}">
      <dgm:prSet custT="1"/>
      <dgm:spPr/>
      <dgm:t>
        <a:bodyPr/>
        <a:lstStyle/>
        <a:p>
          <a:pPr>
            <a:lnSpc>
              <a:spcPct val="100000"/>
            </a:lnSpc>
            <a:defRPr b="1"/>
          </a:pPr>
          <a:r>
            <a:rPr lang="en-US" sz="1400" b="0" i="0" u="none" dirty="0"/>
            <a:t>All subscriptions and management groups fold up to the one root management group within the directory.  </a:t>
          </a:r>
        </a:p>
        <a:p>
          <a:pPr>
            <a:lnSpc>
              <a:spcPct val="100000"/>
            </a:lnSpc>
            <a:defRPr b="1"/>
          </a:pPr>
          <a:r>
            <a:rPr lang="en-US" sz="1400" b="0" i="0" dirty="0"/>
            <a:t>New subscriptions are automatically defaulted to the root management group when created.</a:t>
          </a:r>
          <a:endParaRPr lang="en-US" sz="1400" u="none" dirty="0"/>
        </a:p>
      </dgm:t>
    </dgm:pt>
    <dgm:pt modelId="{F658A072-A3F8-447D-BA93-896FA6E9DBE0}" type="sibTrans" cxnId="{3EE56908-8115-46F0-AF4A-44F48EB98D38}">
      <dgm:prSet/>
      <dgm:spPr/>
      <dgm:t>
        <a:bodyPr/>
        <a:lstStyle/>
        <a:p>
          <a:endParaRPr lang="en-US"/>
        </a:p>
      </dgm:t>
    </dgm:pt>
    <dgm:pt modelId="{0BD48F48-87F4-44EC-8E04-F0C3FC445F63}" type="parTrans" cxnId="{3EE56908-8115-46F0-AF4A-44F48EB98D38}">
      <dgm:prSet/>
      <dgm:spPr/>
      <dgm:t>
        <a:bodyPr/>
        <a:lstStyle/>
        <a:p>
          <a:endParaRPr lang="en-US"/>
        </a:p>
      </dgm:t>
    </dgm:pt>
    <dgm:pt modelId="{2496F503-F5E2-4185-8FFC-957DC69F6721}" type="pres">
      <dgm:prSet presAssocID="{99E9C008-083D-4FBF-BC12-81A46EE479FA}" presName="root" presStyleCnt="0">
        <dgm:presLayoutVars>
          <dgm:dir/>
          <dgm:resizeHandles val="exact"/>
        </dgm:presLayoutVars>
      </dgm:prSet>
      <dgm:spPr/>
    </dgm:pt>
    <dgm:pt modelId="{19B35913-EA7A-4E81-86A8-F67294D4754B}" type="pres">
      <dgm:prSet presAssocID="{70CACC39-85F1-4EAB-B496-D292F6F46402}" presName="compNode" presStyleCnt="0"/>
      <dgm:spPr/>
    </dgm:pt>
    <dgm:pt modelId="{B854E489-5155-4217-84BA-48DB21DCFBC6}" type="pres">
      <dgm:prSet presAssocID="{70CACC39-85F1-4EAB-B496-D292F6F46402}" presName="iconRect" presStyleLbl="node1" presStyleIdx="0" presStyleCnt="5"/>
      <dgm:spPr>
        <a:blipFill>
          <a:blip xmlns:r="http://schemas.openxmlformats.org/officeDocument/2006/relationships" r:embed="rId2">
            <a:extLst>
              <a:ext uri="{96DAC541-7B7A-43D3-8B79-37D633B846F1}">
                <asvg:svgBlip xmlns:asvg="http://schemas.microsoft.com/office/drawing/2016/SVG/main" r:embed="rId3"/>
              </a:ext>
            </a:extLst>
          </a:blip>
          <a:srcRect/>
          <a:stretch>
            <a:fillRect t="-3000" b="-3000"/>
          </a:stretch>
        </a:blipFill>
        <a:ln>
          <a:noFill/>
        </a:ln>
      </dgm:spPr>
      <dgm:extLst>
        <a:ext uri="{E40237B7-FDA0-4F09-8148-C483321AD2D9}">
          <dgm14:cNvPr xmlns:dgm14="http://schemas.microsoft.com/office/drawing/2010/diagram" id="0" name="" descr="Deciduous tree"/>
        </a:ext>
      </dgm:extLst>
    </dgm:pt>
    <dgm:pt modelId="{1EFEF556-FFD9-4217-8251-983C6383519A}" type="pres">
      <dgm:prSet presAssocID="{70CACC39-85F1-4EAB-B496-D292F6F46402}" presName="iconSpace" presStyleCnt="0"/>
      <dgm:spPr/>
    </dgm:pt>
    <dgm:pt modelId="{EDCFA8FF-BBC5-4D7E-9D97-F652BB8A7FDF}" type="pres">
      <dgm:prSet presAssocID="{70CACC39-85F1-4EAB-B496-D292F6F46402}" presName="parTx" presStyleLbl="revTx" presStyleIdx="0" presStyleCnt="10">
        <dgm:presLayoutVars>
          <dgm:chMax val="0"/>
          <dgm:chPref val="0"/>
        </dgm:presLayoutVars>
      </dgm:prSet>
      <dgm:spPr/>
    </dgm:pt>
    <dgm:pt modelId="{2AAD246C-8AC7-4A70-B615-BC5B9193A792}" type="pres">
      <dgm:prSet presAssocID="{70CACC39-85F1-4EAB-B496-D292F6F46402}" presName="txSpace" presStyleCnt="0"/>
      <dgm:spPr/>
    </dgm:pt>
    <dgm:pt modelId="{A2E32C2C-8E62-4B97-8DA3-2FF5FF8415A4}" type="pres">
      <dgm:prSet presAssocID="{70CACC39-85F1-4EAB-B496-D292F6F46402}" presName="desTx" presStyleLbl="revTx" presStyleIdx="1" presStyleCnt="10">
        <dgm:presLayoutVars/>
      </dgm:prSet>
      <dgm:spPr/>
    </dgm:pt>
    <dgm:pt modelId="{5B755A74-FFD9-4E2B-82F3-7613B1344ED0}" type="pres">
      <dgm:prSet presAssocID="{454982C3-CEF4-4A4B-981C-B054481C8F4B}" presName="sibTrans" presStyleCnt="0"/>
      <dgm:spPr/>
    </dgm:pt>
    <dgm:pt modelId="{40F6EBF8-822F-40B5-B94A-267DF54DD34C}" type="pres">
      <dgm:prSet presAssocID="{D46F09C1-FCD9-43BB-9665-CC7797D82FD1}" presName="compNode" presStyleCnt="0"/>
      <dgm:spPr/>
    </dgm:pt>
    <dgm:pt modelId="{8F6540C5-4EAD-480E-82A6-89F144291FF9}" type="pres">
      <dgm:prSet presAssocID="{D46F09C1-FCD9-43BB-9665-CC7797D82FD1}" presName="iconRect" presStyleLbl="node1" presStyleIdx="1" presStyleCnt="5"/>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t="-3000" b="-3000"/>
          </a:stretch>
        </a:blipFill>
        <a:ln>
          <a:noFill/>
        </a:ln>
      </dgm:spPr>
      <dgm:extLst>
        <a:ext uri="{E40237B7-FDA0-4F09-8148-C483321AD2D9}">
          <dgm14:cNvPr xmlns:dgm14="http://schemas.microsoft.com/office/drawing/2010/diagram" id="0" name="" descr="User"/>
        </a:ext>
      </dgm:extLst>
    </dgm:pt>
    <dgm:pt modelId="{D19D743E-F5DC-4A5B-8913-30F79E41AF61}" type="pres">
      <dgm:prSet presAssocID="{D46F09C1-FCD9-43BB-9665-CC7797D82FD1}" presName="iconSpace" presStyleCnt="0"/>
      <dgm:spPr/>
    </dgm:pt>
    <dgm:pt modelId="{B173D4A7-95E8-44A0-B3A5-AFC0A9456B19}" type="pres">
      <dgm:prSet presAssocID="{D46F09C1-FCD9-43BB-9665-CC7797D82FD1}" presName="parTx" presStyleLbl="revTx" presStyleIdx="2" presStyleCnt="10">
        <dgm:presLayoutVars>
          <dgm:chMax val="0"/>
          <dgm:chPref val="0"/>
        </dgm:presLayoutVars>
      </dgm:prSet>
      <dgm:spPr/>
    </dgm:pt>
    <dgm:pt modelId="{A86C470D-78B2-4ED1-B1B5-971386FFBF6C}" type="pres">
      <dgm:prSet presAssocID="{D46F09C1-FCD9-43BB-9665-CC7797D82FD1}" presName="txSpace" presStyleCnt="0"/>
      <dgm:spPr/>
    </dgm:pt>
    <dgm:pt modelId="{BF989899-BC78-45B8-8607-36C2D8B92506}" type="pres">
      <dgm:prSet presAssocID="{D46F09C1-FCD9-43BB-9665-CC7797D82FD1}" presName="desTx" presStyleLbl="revTx" presStyleIdx="3" presStyleCnt="10">
        <dgm:presLayoutVars/>
      </dgm:prSet>
      <dgm:spPr/>
    </dgm:pt>
    <dgm:pt modelId="{9543CAF2-B56C-408D-9339-3F0DC37F8822}" type="pres">
      <dgm:prSet presAssocID="{3FC65A04-9A0D-4588-8E2B-D54124075432}" presName="sibTrans" presStyleCnt="0"/>
      <dgm:spPr/>
    </dgm:pt>
    <dgm:pt modelId="{CF5015E2-11FB-4001-BF4B-EBC705209C87}" type="pres">
      <dgm:prSet presAssocID="{699F81AD-1140-4D45-A201-E79981919E0A}" presName="compNode" presStyleCnt="0"/>
      <dgm:spPr/>
    </dgm:pt>
    <dgm:pt modelId="{D08C3E0A-A6BB-4217-A337-9B25EC01281E}" type="pres">
      <dgm:prSet presAssocID="{699F81AD-1140-4D45-A201-E79981919E0A}" presName="iconRect" presStyleLbl="node1" presStyleIdx="2" presStyleCnt="5"/>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t="-3000" b="-3000"/>
          </a:stretch>
        </a:blipFill>
        <a:ln>
          <a:noFill/>
        </a:ln>
      </dgm:spPr>
      <dgm:extLst>
        <a:ext uri="{E40237B7-FDA0-4F09-8148-C483321AD2D9}">
          <dgm14:cNvPr xmlns:dgm14="http://schemas.microsoft.com/office/drawing/2010/diagram" id="0" name="" descr="Hierarchy"/>
        </a:ext>
      </dgm:extLst>
    </dgm:pt>
    <dgm:pt modelId="{B35A07CE-1784-4CAF-9317-B3A41D8A8F7D}" type="pres">
      <dgm:prSet presAssocID="{699F81AD-1140-4D45-A201-E79981919E0A}" presName="iconSpace" presStyleCnt="0"/>
      <dgm:spPr/>
    </dgm:pt>
    <dgm:pt modelId="{1FBD562C-4B0A-4DED-98FA-8D0910F88C72}" type="pres">
      <dgm:prSet presAssocID="{699F81AD-1140-4D45-A201-E79981919E0A}" presName="parTx" presStyleLbl="revTx" presStyleIdx="4" presStyleCnt="10" custLinFactNeighborX="-32" custLinFactNeighborY="2570">
        <dgm:presLayoutVars>
          <dgm:chMax val="0"/>
          <dgm:chPref val="0"/>
        </dgm:presLayoutVars>
      </dgm:prSet>
      <dgm:spPr/>
    </dgm:pt>
    <dgm:pt modelId="{D14BD79B-58F8-4687-8659-2E3DA65F1BC6}" type="pres">
      <dgm:prSet presAssocID="{699F81AD-1140-4D45-A201-E79981919E0A}" presName="txSpace" presStyleCnt="0"/>
      <dgm:spPr/>
    </dgm:pt>
    <dgm:pt modelId="{6F7928F4-CC11-482D-9BB9-C558F58B653E}" type="pres">
      <dgm:prSet presAssocID="{699F81AD-1140-4D45-A201-E79981919E0A}" presName="desTx" presStyleLbl="revTx" presStyleIdx="5" presStyleCnt="10" custLinFactY="-90555" custLinFactNeighborX="-32" custLinFactNeighborY="-100000">
        <dgm:presLayoutVars/>
      </dgm:prSet>
      <dgm:spPr/>
    </dgm:pt>
    <dgm:pt modelId="{62DB5CA4-0267-40C6-A1F4-D4EDB150048D}" type="pres">
      <dgm:prSet presAssocID="{F658A072-A3F8-447D-BA93-896FA6E9DBE0}" presName="sibTrans" presStyleCnt="0"/>
      <dgm:spPr/>
    </dgm:pt>
    <dgm:pt modelId="{0F023145-2904-4BDE-B8C7-EBFC8183DE72}" type="pres">
      <dgm:prSet presAssocID="{3301828C-F67E-4305-B86D-BD7B0D386837}" presName="compNode" presStyleCnt="0"/>
      <dgm:spPr/>
    </dgm:pt>
    <dgm:pt modelId="{AEB965A8-BFCC-4768-A1B2-A42384917B7A}" type="pres">
      <dgm:prSet presAssocID="{3301828C-F67E-4305-B86D-BD7B0D386837}" presName="iconRect" presStyleLbl="node1" presStyleIdx="3" presStyleCnt="5"/>
      <dgm:spPr>
        <a:blipFill>
          <a:blip xmlns:r="http://schemas.openxmlformats.org/officeDocument/2006/relationships" r:embed="rId8">
            <a:extLst>
              <a:ext uri="{96DAC541-7B7A-43D3-8B79-37D633B846F1}">
                <asvg:svgBlip xmlns:asvg="http://schemas.microsoft.com/office/drawing/2016/SVG/main" r:embed="rId9"/>
              </a:ext>
            </a:extLst>
          </a:blip>
          <a:srcRect/>
          <a:stretch>
            <a:fillRect t="-3000" b="-3000"/>
          </a:stretch>
        </a:blipFill>
        <a:ln>
          <a:noFill/>
        </a:ln>
      </dgm:spPr>
      <dgm:extLst>
        <a:ext uri="{E40237B7-FDA0-4F09-8148-C483321AD2D9}">
          <dgm14:cNvPr xmlns:dgm14="http://schemas.microsoft.com/office/drawing/2010/diagram" id="0" name="" descr="Binoculars"/>
        </a:ext>
      </dgm:extLst>
    </dgm:pt>
    <dgm:pt modelId="{08480117-D58D-48AA-A40E-1A77D29BB473}" type="pres">
      <dgm:prSet presAssocID="{3301828C-F67E-4305-B86D-BD7B0D386837}" presName="iconSpace" presStyleCnt="0"/>
      <dgm:spPr/>
    </dgm:pt>
    <dgm:pt modelId="{37BDE941-0C96-4C51-8D5D-CBF7CB9BBCDF}" type="pres">
      <dgm:prSet presAssocID="{3301828C-F67E-4305-B86D-BD7B0D386837}" presName="parTx" presStyleLbl="revTx" presStyleIdx="6" presStyleCnt="10">
        <dgm:presLayoutVars>
          <dgm:chMax val="0"/>
          <dgm:chPref val="0"/>
        </dgm:presLayoutVars>
      </dgm:prSet>
      <dgm:spPr/>
    </dgm:pt>
    <dgm:pt modelId="{A55A07DC-A85D-413C-A986-C211FE6566E7}" type="pres">
      <dgm:prSet presAssocID="{3301828C-F67E-4305-B86D-BD7B0D386837}" presName="txSpace" presStyleCnt="0"/>
      <dgm:spPr/>
    </dgm:pt>
    <dgm:pt modelId="{7502C390-293D-41FF-9443-A84BA36FA76B}" type="pres">
      <dgm:prSet presAssocID="{3301828C-F67E-4305-B86D-BD7B0D386837}" presName="desTx" presStyleLbl="revTx" presStyleIdx="7" presStyleCnt="10">
        <dgm:presLayoutVars/>
      </dgm:prSet>
      <dgm:spPr/>
    </dgm:pt>
    <dgm:pt modelId="{34BD997A-F76E-404E-B38D-D59AB91265E6}" type="pres">
      <dgm:prSet presAssocID="{A5DE859D-5613-482B-A736-94F534DEBE3A}" presName="sibTrans" presStyleCnt="0"/>
      <dgm:spPr/>
    </dgm:pt>
    <dgm:pt modelId="{2F202A86-4EAA-4F3C-9618-B8DF93561A8B}" type="pres">
      <dgm:prSet presAssocID="{8FF48FC1-BEE0-4F8C-84CD-F6BC1AF4B8A5}" presName="compNode" presStyleCnt="0"/>
      <dgm:spPr/>
    </dgm:pt>
    <dgm:pt modelId="{7C280C2C-E57F-4981-A890-34F459067BDA}" type="pres">
      <dgm:prSet presAssocID="{8FF48FC1-BEE0-4F8C-84CD-F6BC1AF4B8A5}" presName="iconRect" presStyleLbl="node1" presStyleIdx="4" presStyleCnt="5"/>
      <dgm:spPr>
        <a:blipFill>
          <a:blip xmlns:r="http://schemas.openxmlformats.org/officeDocument/2006/relationships" r:embed="rId10">
            <a:extLst>
              <a:ext uri="{96DAC541-7B7A-43D3-8B79-37D633B846F1}">
                <asvg:svgBlip xmlns:asvg="http://schemas.microsoft.com/office/drawing/2016/SVG/main" r:embed="rId11"/>
              </a:ext>
            </a:extLst>
          </a:blip>
          <a:srcRect/>
          <a:stretch>
            <a:fillRect t="-3000" b="-3000"/>
          </a:stretch>
        </a:blipFill>
        <a:ln>
          <a:noFill/>
        </a:ln>
      </dgm:spPr>
      <dgm:extLst>
        <a:ext uri="{E40237B7-FDA0-4F09-8148-C483321AD2D9}">
          <dgm14:cNvPr xmlns:dgm14="http://schemas.microsoft.com/office/drawing/2010/diagram" id="0" name="" descr="No sign"/>
        </a:ext>
      </dgm:extLst>
    </dgm:pt>
    <dgm:pt modelId="{78F7DA7E-33A2-43B6-B3AE-23623FD9E91D}" type="pres">
      <dgm:prSet presAssocID="{8FF48FC1-BEE0-4F8C-84CD-F6BC1AF4B8A5}" presName="iconSpace" presStyleCnt="0"/>
      <dgm:spPr/>
    </dgm:pt>
    <dgm:pt modelId="{F4019F2B-7F86-4A52-AAB2-526812728D18}" type="pres">
      <dgm:prSet presAssocID="{8FF48FC1-BEE0-4F8C-84CD-F6BC1AF4B8A5}" presName="parTx" presStyleLbl="revTx" presStyleIdx="8" presStyleCnt="10">
        <dgm:presLayoutVars>
          <dgm:chMax val="0"/>
          <dgm:chPref val="0"/>
        </dgm:presLayoutVars>
      </dgm:prSet>
      <dgm:spPr/>
    </dgm:pt>
    <dgm:pt modelId="{D972BC80-F1AA-44B8-B6C2-5F2497B91189}" type="pres">
      <dgm:prSet presAssocID="{8FF48FC1-BEE0-4F8C-84CD-F6BC1AF4B8A5}" presName="txSpace" presStyleCnt="0"/>
      <dgm:spPr/>
    </dgm:pt>
    <dgm:pt modelId="{526F55A0-51DB-4552-A0CA-7F54F82B2F3D}" type="pres">
      <dgm:prSet presAssocID="{8FF48FC1-BEE0-4F8C-84CD-F6BC1AF4B8A5}" presName="desTx" presStyleLbl="revTx" presStyleIdx="9" presStyleCnt="10">
        <dgm:presLayoutVars/>
      </dgm:prSet>
      <dgm:spPr/>
    </dgm:pt>
  </dgm:ptLst>
  <dgm:cxnLst>
    <dgm:cxn modelId="{3EE56908-8115-46F0-AF4A-44F48EB98D38}" srcId="{99E9C008-083D-4FBF-BC12-81A46EE479FA}" destId="{699F81AD-1140-4D45-A201-E79981919E0A}" srcOrd="2" destOrd="0" parTransId="{0BD48F48-87F4-44EC-8E04-F0C3FC445F63}" sibTransId="{F658A072-A3F8-447D-BA93-896FA6E9DBE0}"/>
    <dgm:cxn modelId="{C607F917-9A31-4983-BD40-BCDF65E28E93}" srcId="{99E9C008-083D-4FBF-BC12-81A46EE479FA}" destId="{8FF48FC1-BEE0-4F8C-84CD-F6BC1AF4B8A5}" srcOrd="4" destOrd="0" parTransId="{9F6E3BF6-A183-492D-9866-46963CBC801E}" sibTransId="{0AAA936F-F295-41CD-8C00-42242D413868}"/>
    <dgm:cxn modelId="{FCC7331B-4838-48C3-AF90-069F6648BE19}" srcId="{99E9C008-083D-4FBF-BC12-81A46EE479FA}" destId="{70CACC39-85F1-4EAB-B496-D292F6F46402}" srcOrd="0" destOrd="0" parTransId="{36A8FDD2-9CB8-47BA-8E2F-83A2D4C84667}" sibTransId="{454982C3-CEF4-4A4B-981C-B054481C8F4B}"/>
    <dgm:cxn modelId="{CADFBA3F-5DC5-4F22-BEE7-ECD3DFB97DDA}" type="presOf" srcId="{8FF48FC1-BEE0-4F8C-84CD-F6BC1AF4B8A5}" destId="{F4019F2B-7F86-4A52-AAB2-526812728D18}" srcOrd="0" destOrd="0" presId="urn:microsoft.com/office/officeart/2018/2/layout/IconLabelDescriptionList"/>
    <dgm:cxn modelId="{791A0047-AE0D-4B80-8936-D35CADD6830B}" type="presOf" srcId="{99E9C008-083D-4FBF-BC12-81A46EE479FA}" destId="{2496F503-F5E2-4185-8FFC-957DC69F6721}" srcOrd="0" destOrd="0" presId="urn:microsoft.com/office/officeart/2018/2/layout/IconLabelDescriptionList"/>
    <dgm:cxn modelId="{4596DD4F-297C-4E26-8113-48A0FE26E9D1}" srcId="{99E9C008-083D-4FBF-BC12-81A46EE479FA}" destId="{D46F09C1-FCD9-43BB-9665-CC7797D82FD1}" srcOrd="1" destOrd="0" parTransId="{7E251F78-62EF-4E87-8779-797DE00ADBEB}" sibTransId="{3FC65A04-9A0D-4588-8E2B-D54124075432}"/>
    <dgm:cxn modelId="{82516959-BBCE-4AFB-A185-3E476090E672}" type="presOf" srcId="{699F81AD-1140-4D45-A201-E79981919E0A}" destId="{1FBD562C-4B0A-4DED-98FA-8D0910F88C72}" srcOrd="0" destOrd="0" presId="urn:microsoft.com/office/officeart/2018/2/layout/IconLabelDescriptionList"/>
    <dgm:cxn modelId="{006E0B7F-1FD8-49B6-8D55-E33C625FD9C6}" srcId="{99E9C008-083D-4FBF-BC12-81A46EE479FA}" destId="{3301828C-F67E-4305-B86D-BD7B0D386837}" srcOrd="3" destOrd="0" parTransId="{A2DBC8E9-FEE5-4171-AFBF-9BD68E99906B}" sibTransId="{A5DE859D-5613-482B-A736-94F534DEBE3A}"/>
    <dgm:cxn modelId="{7E26A1AA-A5B4-4411-9BD3-FA05F575E52B}" type="presOf" srcId="{3301828C-F67E-4305-B86D-BD7B0D386837}" destId="{37BDE941-0C96-4C51-8D5D-CBF7CB9BBCDF}" srcOrd="0" destOrd="0" presId="urn:microsoft.com/office/officeart/2018/2/layout/IconLabelDescriptionList"/>
    <dgm:cxn modelId="{0128C5B3-72B7-42C2-BA94-8434C73E3546}" type="presOf" srcId="{70CACC39-85F1-4EAB-B496-D292F6F46402}" destId="{EDCFA8FF-BBC5-4D7E-9D97-F652BB8A7FDF}" srcOrd="0" destOrd="0" presId="urn:microsoft.com/office/officeart/2018/2/layout/IconLabelDescriptionList"/>
    <dgm:cxn modelId="{8131CACD-2D7C-4E57-9C9D-637287F95BCF}" type="presOf" srcId="{D46F09C1-FCD9-43BB-9665-CC7797D82FD1}" destId="{B173D4A7-95E8-44A0-B3A5-AFC0A9456B19}" srcOrd="0" destOrd="0" presId="urn:microsoft.com/office/officeart/2018/2/layout/IconLabelDescriptionList"/>
    <dgm:cxn modelId="{0767749A-864A-40D3-A393-80752EADA552}" type="presParOf" srcId="{2496F503-F5E2-4185-8FFC-957DC69F6721}" destId="{19B35913-EA7A-4E81-86A8-F67294D4754B}" srcOrd="0" destOrd="0" presId="urn:microsoft.com/office/officeart/2018/2/layout/IconLabelDescriptionList"/>
    <dgm:cxn modelId="{C0863D48-9F38-461C-A44A-6F9C4223F576}" type="presParOf" srcId="{19B35913-EA7A-4E81-86A8-F67294D4754B}" destId="{B854E489-5155-4217-84BA-48DB21DCFBC6}" srcOrd="0" destOrd="0" presId="urn:microsoft.com/office/officeart/2018/2/layout/IconLabelDescriptionList"/>
    <dgm:cxn modelId="{479213BA-E826-4F49-B947-AB17B896D93D}" type="presParOf" srcId="{19B35913-EA7A-4E81-86A8-F67294D4754B}" destId="{1EFEF556-FFD9-4217-8251-983C6383519A}" srcOrd="1" destOrd="0" presId="urn:microsoft.com/office/officeart/2018/2/layout/IconLabelDescriptionList"/>
    <dgm:cxn modelId="{BE0365DF-0E1A-4A10-9B07-427D7FF7B64C}" type="presParOf" srcId="{19B35913-EA7A-4E81-86A8-F67294D4754B}" destId="{EDCFA8FF-BBC5-4D7E-9D97-F652BB8A7FDF}" srcOrd="2" destOrd="0" presId="urn:microsoft.com/office/officeart/2018/2/layout/IconLabelDescriptionList"/>
    <dgm:cxn modelId="{836899BA-2EEB-470E-9F86-9890B790362D}" type="presParOf" srcId="{19B35913-EA7A-4E81-86A8-F67294D4754B}" destId="{2AAD246C-8AC7-4A70-B615-BC5B9193A792}" srcOrd="3" destOrd="0" presId="urn:microsoft.com/office/officeart/2018/2/layout/IconLabelDescriptionList"/>
    <dgm:cxn modelId="{89B74453-F99E-4EF8-B055-10BA086A1619}" type="presParOf" srcId="{19B35913-EA7A-4E81-86A8-F67294D4754B}" destId="{A2E32C2C-8E62-4B97-8DA3-2FF5FF8415A4}" srcOrd="4" destOrd="0" presId="urn:microsoft.com/office/officeart/2018/2/layout/IconLabelDescriptionList"/>
    <dgm:cxn modelId="{D962EAB3-BD00-45C5-9FA9-F0C657860EBD}" type="presParOf" srcId="{2496F503-F5E2-4185-8FFC-957DC69F6721}" destId="{5B755A74-FFD9-4E2B-82F3-7613B1344ED0}" srcOrd="1" destOrd="0" presId="urn:microsoft.com/office/officeart/2018/2/layout/IconLabelDescriptionList"/>
    <dgm:cxn modelId="{03712491-E944-4F37-9A82-80AAEA8F104D}" type="presParOf" srcId="{2496F503-F5E2-4185-8FFC-957DC69F6721}" destId="{40F6EBF8-822F-40B5-B94A-267DF54DD34C}" srcOrd="2" destOrd="0" presId="urn:microsoft.com/office/officeart/2018/2/layout/IconLabelDescriptionList"/>
    <dgm:cxn modelId="{BC58E417-DEB0-4FEC-A340-EB13B368333C}" type="presParOf" srcId="{40F6EBF8-822F-40B5-B94A-267DF54DD34C}" destId="{8F6540C5-4EAD-480E-82A6-89F144291FF9}" srcOrd="0" destOrd="0" presId="urn:microsoft.com/office/officeart/2018/2/layout/IconLabelDescriptionList"/>
    <dgm:cxn modelId="{894156ED-C221-4FD1-9696-73CFAC792D47}" type="presParOf" srcId="{40F6EBF8-822F-40B5-B94A-267DF54DD34C}" destId="{D19D743E-F5DC-4A5B-8913-30F79E41AF61}" srcOrd="1" destOrd="0" presId="urn:microsoft.com/office/officeart/2018/2/layout/IconLabelDescriptionList"/>
    <dgm:cxn modelId="{0EBAF7C2-30CE-49BC-901C-0F4AEF144655}" type="presParOf" srcId="{40F6EBF8-822F-40B5-B94A-267DF54DD34C}" destId="{B173D4A7-95E8-44A0-B3A5-AFC0A9456B19}" srcOrd="2" destOrd="0" presId="urn:microsoft.com/office/officeart/2018/2/layout/IconLabelDescriptionList"/>
    <dgm:cxn modelId="{CAB9B3FB-CD09-44A4-87FD-0048DC010EE0}" type="presParOf" srcId="{40F6EBF8-822F-40B5-B94A-267DF54DD34C}" destId="{A86C470D-78B2-4ED1-B1B5-971386FFBF6C}" srcOrd="3" destOrd="0" presId="urn:microsoft.com/office/officeart/2018/2/layout/IconLabelDescriptionList"/>
    <dgm:cxn modelId="{00D1AE23-0122-4810-A61F-A29F97ABC2A4}" type="presParOf" srcId="{40F6EBF8-822F-40B5-B94A-267DF54DD34C}" destId="{BF989899-BC78-45B8-8607-36C2D8B92506}" srcOrd="4" destOrd="0" presId="urn:microsoft.com/office/officeart/2018/2/layout/IconLabelDescriptionList"/>
    <dgm:cxn modelId="{206A6FC0-0FC4-474B-B7BC-09BDA88C1BF7}" type="presParOf" srcId="{2496F503-F5E2-4185-8FFC-957DC69F6721}" destId="{9543CAF2-B56C-408D-9339-3F0DC37F8822}" srcOrd="3" destOrd="0" presId="urn:microsoft.com/office/officeart/2018/2/layout/IconLabelDescriptionList"/>
    <dgm:cxn modelId="{DB1279AC-E691-40CC-8E3A-F3AB4CAEA2F7}" type="presParOf" srcId="{2496F503-F5E2-4185-8FFC-957DC69F6721}" destId="{CF5015E2-11FB-4001-BF4B-EBC705209C87}" srcOrd="4" destOrd="0" presId="urn:microsoft.com/office/officeart/2018/2/layout/IconLabelDescriptionList"/>
    <dgm:cxn modelId="{A44DB946-779B-4B6C-BE28-61AC9D815DA7}" type="presParOf" srcId="{CF5015E2-11FB-4001-BF4B-EBC705209C87}" destId="{D08C3E0A-A6BB-4217-A337-9B25EC01281E}" srcOrd="0" destOrd="0" presId="urn:microsoft.com/office/officeart/2018/2/layout/IconLabelDescriptionList"/>
    <dgm:cxn modelId="{7FC549D8-A41E-4771-8D0F-2A298E290DD3}" type="presParOf" srcId="{CF5015E2-11FB-4001-BF4B-EBC705209C87}" destId="{B35A07CE-1784-4CAF-9317-B3A41D8A8F7D}" srcOrd="1" destOrd="0" presId="urn:microsoft.com/office/officeart/2018/2/layout/IconLabelDescriptionList"/>
    <dgm:cxn modelId="{1F8A718A-AA25-4384-B0F3-2A71D8E63876}" type="presParOf" srcId="{CF5015E2-11FB-4001-BF4B-EBC705209C87}" destId="{1FBD562C-4B0A-4DED-98FA-8D0910F88C72}" srcOrd="2" destOrd="0" presId="urn:microsoft.com/office/officeart/2018/2/layout/IconLabelDescriptionList"/>
    <dgm:cxn modelId="{01791518-96B0-4B95-A799-BD19F123BA9E}" type="presParOf" srcId="{CF5015E2-11FB-4001-BF4B-EBC705209C87}" destId="{D14BD79B-58F8-4687-8659-2E3DA65F1BC6}" srcOrd="3" destOrd="0" presId="urn:microsoft.com/office/officeart/2018/2/layout/IconLabelDescriptionList"/>
    <dgm:cxn modelId="{E6BF040E-03A4-493A-856C-E2F8F6EBF4A2}" type="presParOf" srcId="{CF5015E2-11FB-4001-BF4B-EBC705209C87}" destId="{6F7928F4-CC11-482D-9BB9-C558F58B653E}" srcOrd="4" destOrd="0" presId="urn:microsoft.com/office/officeart/2018/2/layout/IconLabelDescriptionList"/>
    <dgm:cxn modelId="{75ED5D7C-9DEC-4542-B710-59D15E9636F7}" type="presParOf" srcId="{2496F503-F5E2-4185-8FFC-957DC69F6721}" destId="{62DB5CA4-0267-40C6-A1F4-D4EDB150048D}" srcOrd="5" destOrd="0" presId="urn:microsoft.com/office/officeart/2018/2/layout/IconLabelDescriptionList"/>
    <dgm:cxn modelId="{DDECE38E-6B5C-477C-AD70-824ECFC57ACC}" type="presParOf" srcId="{2496F503-F5E2-4185-8FFC-957DC69F6721}" destId="{0F023145-2904-4BDE-B8C7-EBFC8183DE72}" srcOrd="6" destOrd="0" presId="urn:microsoft.com/office/officeart/2018/2/layout/IconLabelDescriptionList"/>
    <dgm:cxn modelId="{CCB37CE9-5A21-4FDF-A4F8-C6D385CC9A98}" type="presParOf" srcId="{0F023145-2904-4BDE-B8C7-EBFC8183DE72}" destId="{AEB965A8-BFCC-4768-A1B2-A42384917B7A}" srcOrd="0" destOrd="0" presId="urn:microsoft.com/office/officeart/2018/2/layout/IconLabelDescriptionList"/>
    <dgm:cxn modelId="{400821D5-9893-4373-8120-B2C8D401F26B}" type="presParOf" srcId="{0F023145-2904-4BDE-B8C7-EBFC8183DE72}" destId="{08480117-D58D-48AA-A40E-1A77D29BB473}" srcOrd="1" destOrd="0" presId="urn:microsoft.com/office/officeart/2018/2/layout/IconLabelDescriptionList"/>
    <dgm:cxn modelId="{8AF24C1C-77FF-4E75-91C2-E19C64316622}" type="presParOf" srcId="{0F023145-2904-4BDE-B8C7-EBFC8183DE72}" destId="{37BDE941-0C96-4C51-8D5D-CBF7CB9BBCDF}" srcOrd="2" destOrd="0" presId="urn:microsoft.com/office/officeart/2018/2/layout/IconLabelDescriptionList"/>
    <dgm:cxn modelId="{2F5C4F3E-19E1-46AE-9120-DF57DAFF24CA}" type="presParOf" srcId="{0F023145-2904-4BDE-B8C7-EBFC8183DE72}" destId="{A55A07DC-A85D-413C-A986-C211FE6566E7}" srcOrd="3" destOrd="0" presId="urn:microsoft.com/office/officeart/2018/2/layout/IconLabelDescriptionList"/>
    <dgm:cxn modelId="{BA174D73-3805-423A-AB4C-BEE150AA1C25}" type="presParOf" srcId="{0F023145-2904-4BDE-B8C7-EBFC8183DE72}" destId="{7502C390-293D-41FF-9443-A84BA36FA76B}" srcOrd="4" destOrd="0" presId="urn:microsoft.com/office/officeart/2018/2/layout/IconLabelDescriptionList"/>
    <dgm:cxn modelId="{489DFB21-CD74-43B9-96BB-AB1FB983CD82}" type="presParOf" srcId="{2496F503-F5E2-4185-8FFC-957DC69F6721}" destId="{34BD997A-F76E-404E-B38D-D59AB91265E6}" srcOrd="7" destOrd="0" presId="urn:microsoft.com/office/officeart/2018/2/layout/IconLabelDescriptionList"/>
    <dgm:cxn modelId="{694087E3-1713-4C40-A01C-C5C7E65D2FDD}" type="presParOf" srcId="{2496F503-F5E2-4185-8FFC-957DC69F6721}" destId="{2F202A86-4EAA-4F3C-9618-B8DF93561A8B}" srcOrd="8" destOrd="0" presId="urn:microsoft.com/office/officeart/2018/2/layout/IconLabelDescriptionList"/>
    <dgm:cxn modelId="{23730C14-733E-40D9-AE28-373D7218890F}" type="presParOf" srcId="{2F202A86-4EAA-4F3C-9618-B8DF93561A8B}" destId="{7C280C2C-E57F-4981-A890-34F459067BDA}" srcOrd="0" destOrd="0" presId="urn:microsoft.com/office/officeart/2018/2/layout/IconLabelDescriptionList"/>
    <dgm:cxn modelId="{C422AFA8-F89A-4411-9664-D6DDEF1C6587}" type="presParOf" srcId="{2F202A86-4EAA-4F3C-9618-B8DF93561A8B}" destId="{78F7DA7E-33A2-43B6-B3AE-23623FD9E91D}" srcOrd="1" destOrd="0" presId="urn:microsoft.com/office/officeart/2018/2/layout/IconLabelDescriptionList"/>
    <dgm:cxn modelId="{5D1FA826-83B4-4E98-9E57-B0EA8B47E7F3}" type="presParOf" srcId="{2F202A86-4EAA-4F3C-9618-B8DF93561A8B}" destId="{F4019F2B-7F86-4A52-AAB2-526812728D18}" srcOrd="2" destOrd="0" presId="urn:microsoft.com/office/officeart/2018/2/layout/IconLabelDescriptionList"/>
    <dgm:cxn modelId="{C31DDDCE-C9BE-4D87-B83F-F10117A80E0A}" type="presParOf" srcId="{2F202A86-4EAA-4F3C-9618-B8DF93561A8B}" destId="{D972BC80-F1AA-44B8-B6C2-5F2497B91189}" srcOrd="3" destOrd="0" presId="urn:microsoft.com/office/officeart/2018/2/layout/IconLabelDescriptionList"/>
    <dgm:cxn modelId="{DB095F59-72E2-4784-98C9-532CB1AB828D}" type="presParOf" srcId="{2F202A86-4EAA-4F3C-9618-B8DF93561A8B}" destId="{526F55A0-51DB-4552-A0CA-7F54F82B2F3D}"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3A7FDF-CBC9-4660-9712-62042C2B6F57}" type="doc">
      <dgm:prSet loTypeId="urn:microsoft.com/office/officeart/2018/2/layout/IconVerticalSolidList" loCatId="icon" qsTypeId="urn:microsoft.com/office/officeart/2005/8/quickstyle/simple4" qsCatId="simple" csTypeId="urn:microsoft.com/office/officeart/2018/5/colors/Iconchunking_neutralicontext_accent2_2" csCatId="accent2" phldr="1"/>
      <dgm:spPr/>
      <dgm:t>
        <a:bodyPr/>
        <a:lstStyle/>
        <a:p>
          <a:endParaRPr lang="en-US"/>
        </a:p>
      </dgm:t>
    </dgm:pt>
    <dgm:pt modelId="{485B60B5-1C2F-4E9C-B026-51BA459734F1}">
      <dgm:prSet/>
      <dgm:spPr/>
      <dgm:t>
        <a:bodyPr/>
        <a:lstStyle/>
        <a:p>
          <a:pPr>
            <a:lnSpc>
              <a:spcPct val="100000"/>
            </a:lnSpc>
          </a:pPr>
          <a:r>
            <a:rPr lang="en-US"/>
            <a:t>Policies enforce different rules and effects over your resources, so those resources stay compliant with your corporate standards and service level agreements</a:t>
          </a:r>
        </a:p>
      </dgm:t>
    </dgm:pt>
    <dgm:pt modelId="{13C7732C-3827-41A5-809E-6717CD055C50}" type="parTrans" cxnId="{D37994CB-DB9E-4922-8B50-0DB80305D649}">
      <dgm:prSet/>
      <dgm:spPr/>
      <dgm:t>
        <a:bodyPr/>
        <a:lstStyle/>
        <a:p>
          <a:endParaRPr lang="en-US"/>
        </a:p>
      </dgm:t>
    </dgm:pt>
    <dgm:pt modelId="{288CB933-4501-4289-BD49-7EB004F96F44}" type="sibTrans" cxnId="{D37994CB-DB9E-4922-8B50-0DB80305D649}">
      <dgm:prSet/>
      <dgm:spPr/>
      <dgm:t>
        <a:bodyPr/>
        <a:lstStyle/>
        <a:p>
          <a:endParaRPr lang="en-US"/>
        </a:p>
      </dgm:t>
    </dgm:pt>
    <dgm:pt modelId="{0A1F7E74-204B-4F5A-B462-CE2820D75D98}">
      <dgm:prSet/>
      <dgm:spPr/>
      <dgm:t>
        <a:bodyPr/>
        <a:lstStyle/>
        <a:p>
          <a:pPr>
            <a:lnSpc>
              <a:spcPct val="100000"/>
            </a:lnSpc>
          </a:pPr>
          <a:r>
            <a:rPr lang="en-US"/>
            <a:t>Policies are DEFINED (e.g. what VM SKUs are allowed) and then ASSIGNED to a scope (e.g. a subscription)</a:t>
          </a:r>
        </a:p>
      </dgm:t>
    </dgm:pt>
    <dgm:pt modelId="{72F0DA70-34A2-480C-9474-1A470AD92B3A}" type="parTrans" cxnId="{B65A7D67-69F7-45B2-AC0B-9EA0D64D1713}">
      <dgm:prSet/>
      <dgm:spPr/>
      <dgm:t>
        <a:bodyPr/>
        <a:lstStyle/>
        <a:p>
          <a:endParaRPr lang="en-US"/>
        </a:p>
      </dgm:t>
    </dgm:pt>
    <dgm:pt modelId="{AFBB824D-8FA4-4FFE-8B93-EDA200E71655}" type="sibTrans" cxnId="{B65A7D67-69F7-45B2-AC0B-9EA0D64D1713}">
      <dgm:prSet/>
      <dgm:spPr/>
      <dgm:t>
        <a:bodyPr/>
        <a:lstStyle/>
        <a:p>
          <a:endParaRPr lang="en-US"/>
        </a:p>
      </dgm:t>
    </dgm:pt>
    <dgm:pt modelId="{4AF5A366-D36E-4F46-A43F-298E865FDDD4}">
      <dgm:prSet/>
      <dgm:spPr/>
      <dgm:t>
        <a:bodyPr/>
        <a:lstStyle/>
        <a:p>
          <a:pPr>
            <a:lnSpc>
              <a:spcPct val="100000"/>
            </a:lnSpc>
          </a:pPr>
          <a:r>
            <a:rPr lang="en-US"/>
            <a:t>Initiatives are a collection of policy definitions designed to achieve a single goal</a:t>
          </a:r>
        </a:p>
      </dgm:t>
    </dgm:pt>
    <dgm:pt modelId="{D9F7D6BC-240E-4B12-B26B-214EE11AD0E7}" type="parTrans" cxnId="{FBC8AD8B-0C61-4E18-8BD0-503B57301897}">
      <dgm:prSet/>
      <dgm:spPr/>
      <dgm:t>
        <a:bodyPr/>
        <a:lstStyle/>
        <a:p>
          <a:endParaRPr lang="en-US"/>
        </a:p>
      </dgm:t>
    </dgm:pt>
    <dgm:pt modelId="{6B2C23AA-9624-4105-94E7-283625C1CD67}" type="sibTrans" cxnId="{FBC8AD8B-0C61-4E18-8BD0-503B57301897}">
      <dgm:prSet/>
      <dgm:spPr/>
      <dgm:t>
        <a:bodyPr/>
        <a:lstStyle/>
        <a:p>
          <a:endParaRPr lang="en-US"/>
        </a:p>
      </dgm:t>
    </dgm:pt>
    <dgm:pt modelId="{29460622-701B-46BC-A8AF-270E49A483BB}" type="pres">
      <dgm:prSet presAssocID="{AE3A7FDF-CBC9-4660-9712-62042C2B6F57}" presName="root" presStyleCnt="0">
        <dgm:presLayoutVars>
          <dgm:dir/>
          <dgm:resizeHandles val="exact"/>
        </dgm:presLayoutVars>
      </dgm:prSet>
      <dgm:spPr/>
    </dgm:pt>
    <dgm:pt modelId="{AEEC0F5F-0D50-4428-B0A3-EAD01D97509B}" type="pres">
      <dgm:prSet presAssocID="{485B60B5-1C2F-4E9C-B026-51BA459734F1}" presName="compNode" presStyleCnt="0"/>
      <dgm:spPr/>
    </dgm:pt>
    <dgm:pt modelId="{F84B0864-D226-4D87-BADD-EEEDDA925F11}" type="pres">
      <dgm:prSet presAssocID="{485B60B5-1C2F-4E9C-B026-51BA459734F1}" presName="bgRect" presStyleLbl="bgShp" presStyleIdx="0" presStyleCnt="3"/>
      <dgm:spPr/>
    </dgm:pt>
    <dgm:pt modelId="{F766EFE3-415D-4304-9E1F-B24601766BE6}" type="pres">
      <dgm:prSet presAssocID="{485B60B5-1C2F-4E9C-B026-51BA459734F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andshake"/>
        </a:ext>
      </dgm:extLst>
    </dgm:pt>
    <dgm:pt modelId="{BCD566CF-ACF3-4360-9CCD-3DF3D070861E}" type="pres">
      <dgm:prSet presAssocID="{485B60B5-1C2F-4E9C-B026-51BA459734F1}" presName="spaceRect" presStyleCnt="0"/>
      <dgm:spPr/>
    </dgm:pt>
    <dgm:pt modelId="{33287DC3-AE6F-40F4-BE66-D90FFC5738DF}" type="pres">
      <dgm:prSet presAssocID="{485B60B5-1C2F-4E9C-B026-51BA459734F1}" presName="parTx" presStyleLbl="revTx" presStyleIdx="0" presStyleCnt="3">
        <dgm:presLayoutVars>
          <dgm:chMax val="0"/>
          <dgm:chPref val="0"/>
        </dgm:presLayoutVars>
      </dgm:prSet>
      <dgm:spPr/>
    </dgm:pt>
    <dgm:pt modelId="{ACE1996F-E57B-4249-905B-FB74B545EF8D}" type="pres">
      <dgm:prSet presAssocID="{288CB933-4501-4289-BD49-7EB004F96F44}" presName="sibTrans" presStyleCnt="0"/>
      <dgm:spPr/>
    </dgm:pt>
    <dgm:pt modelId="{1A63DB32-2646-4460-BE15-81FE5B2088C4}" type="pres">
      <dgm:prSet presAssocID="{0A1F7E74-204B-4F5A-B462-CE2820D75D98}" presName="compNode" presStyleCnt="0"/>
      <dgm:spPr/>
    </dgm:pt>
    <dgm:pt modelId="{1760CB8F-A7B6-425C-87C8-37F4625A5713}" type="pres">
      <dgm:prSet presAssocID="{0A1F7E74-204B-4F5A-B462-CE2820D75D98}" presName="bgRect" presStyleLbl="bgShp" presStyleIdx="1" presStyleCnt="3"/>
      <dgm:spPr/>
    </dgm:pt>
    <dgm:pt modelId="{07D55F2D-302F-4098-8089-F5A21C85CA99}" type="pres">
      <dgm:prSet presAssocID="{0A1F7E74-204B-4F5A-B462-CE2820D75D9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encil"/>
        </a:ext>
      </dgm:extLst>
    </dgm:pt>
    <dgm:pt modelId="{2571FD3C-2489-4737-886C-AEFDD719C97D}" type="pres">
      <dgm:prSet presAssocID="{0A1F7E74-204B-4F5A-B462-CE2820D75D98}" presName="spaceRect" presStyleCnt="0"/>
      <dgm:spPr/>
    </dgm:pt>
    <dgm:pt modelId="{EB5BB73F-7072-4BA6-BD00-F8302DC6807F}" type="pres">
      <dgm:prSet presAssocID="{0A1F7E74-204B-4F5A-B462-CE2820D75D98}" presName="parTx" presStyleLbl="revTx" presStyleIdx="1" presStyleCnt="3">
        <dgm:presLayoutVars>
          <dgm:chMax val="0"/>
          <dgm:chPref val="0"/>
        </dgm:presLayoutVars>
      </dgm:prSet>
      <dgm:spPr/>
    </dgm:pt>
    <dgm:pt modelId="{7375323E-9E99-43E0-A74D-6D68A0C0F045}" type="pres">
      <dgm:prSet presAssocID="{AFBB824D-8FA4-4FFE-8B93-EDA200E71655}" presName="sibTrans" presStyleCnt="0"/>
      <dgm:spPr/>
    </dgm:pt>
    <dgm:pt modelId="{356E615F-BBB6-4B9B-8EC9-AA7FFE304F1F}" type="pres">
      <dgm:prSet presAssocID="{4AF5A366-D36E-4F46-A43F-298E865FDDD4}" presName="compNode" presStyleCnt="0"/>
      <dgm:spPr/>
    </dgm:pt>
    <dgm:pt modelId="{BA7077DD-22EE-4AC8-8E95-035DBE264E6C}" type="pres">
      <dgm:prSet presAssocID="{4AF5A366-D36E-4F46-A43F-298E865FDDD4}" presName="bgRect" presStyleLbl="bgShp" presStyleIdx="2" presStyleCnt="3"/>
      <dgm:spPr/>
    </dgm:pt>
    <dgm:pt modelId="{5CD601FA-A29E-486E-B057-AD261004DBB6}" type="pres">
      <dgm:prSet presAssocID="{4AF5A366-D36E-4F46-A43F-298E865FDDD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Tablet"/>
        </a:ext>
      </dgm:extLst>
    </dgm:pt>
    <dgm:pt modelId="{B467503A-6E41-4A36-9A99-B571E50689B4}" type="pres">
      <dgm:prSet presAssocID="{4AF5A366-D36E-4F46-A43F-298E865FDDD4}" presName="spaceRect" presStyleCnt="0"/>
      <dgm:spPr/>
    </dgm:pt>
    <dgm:pt modelId="{83108701-8C5D-4588-AAAE-6976B344ED3A}" type="pres">
      <dgm:prSet presAssocID="{4AF5A366-D36E-4F46-A43F-298E865FDDD4}" presName="parTx" presStyleLbl="revTx" presStyleIdx="2" presStyleCnt="3">
        <dgm:presLayoutVars>
          <dgm:chMax val="0"/>
          <dgm:chPref val="0"/>
        </dgm:presLayoutVars>
      </dgm:prSet>
      <dgm:spPr/>
    </dgm:pt>
  </dgm:ptLst>
  <dgm:cxnLst>
    <dgm:cxn modelId="{84B8342E-545A-463F-89A7-C4B7C471DD9F}" type="presOf" srcId="{485B60B5-1C2F-4E9C-B026-51BA459734F1}" destId="{33287DC3-AE6F-40F4-BE66-D90FFC5738DF}" srcOrd="0" destOrd="0" presId="urn:microsoft.com/office/officeart/2018/2/layout/IconVerticalSolidList"/>
    <dgm:cxn modelId="{D6543E31-2A3F-4909-9655-E21F7EE33571}" type="presOf" srcId="{AE3A7FDF-CBC9-4660-9712-62042C2B6F57}" destId="{29460622-701B-46BC-A8AF-270E49A483BB}" srcOrd="0" destOrd="0" presId="urn:microsoft.com/office/officeart/2018/2/layout/IconVerticalSolidList"/>
    <dgm:cxn modelId="{921CFC3D-8C4D-4AAA-B4AC-A2E3231F333C}" type="presOf" srcId="{4AF5A366-D36E-4F46-A43F-298E865FDDD4}" destId="{83108701-8C5D-4588-AAAE-6976B344ED3A}" srcOrd="0" destOrd="0" presId="urn:microsoft.com/office/officeart/2018/2/layout/IconVerticalSolidList"/>
    <dgm:cxn modelId="{B65A7D67-69F7-45B2-AC0B-9EA0D64D1713}" srcId="{AE3A7FDF-CBC9-4660-9712-62042C2B6F57}" destId="{0A1F7E74-204B-4F5A-B462-CE2820D75D98}" srcOrd="1" destOrd="0" parTransId="{72F0DA70-34A2-480C-9474-1A470AD92B3A}" sibTransId="{AFBB824D-8FA4-4FFE-8B93-EDA200E71655}"/>
    <dgm:cxn modelId="{FBC8AD8B-0C61-4E18-8BD0-503B57301897}" srcId="{AE3A7FDF-CBC9-4660-9712-62042C2B6F57}" destId="{4AF5A366-D36E-4F46-A43F-298E865FDDD4}" srcOrd="2" destOrd="0" parTransId="{D9F7D6BC-240E-4B12-B26B-214EE11AD0E7}" sibTransId="{6B2C23AA-9624-4105-94E7-283625C1CD67}"/>
    <dgm:cxn modelId="{D37994CB-DB9E-4922-8B50-0DB80305D649}" srcId="{AE3A7FDF-CBC9-4660-9712-62042C2B6F57}" destId="{485B60B5-1C2F-4E9C-B026-51BA459734F1}" srcOrd="0" destOrd="0" parTransId="{13C7732C-3827-41A5-809E-6717CD055C50}" sibTransId="{288CB933-4501-4289-BD49-7EB004F96F44}"/>
    <dgm:cxn modelId="{E8A6F5E0-AA7F-4988-A0E6-B31ABC8449AE}" type="presOf" srcId="{0A1F7E74-204B-4F5A-B462-CE2820D75D98}" destId="{EB5BB73F-7072-4BA6-BD00-F8302DC6807F}" srcOrd="0" destOrd="0" presId="urn:microsoft.com/office/officeart/2018/2/layout/IconVerticalSolidList"/>
    <dgm:cxn modelId="{81563696-66E1-4918-8538-6725C9A74E6A}" type="presParOf" srcId="{29460622-701B-46BC-A8AF-270E49A483BB}" destId="{AEEC0F5F-0D50-4428-B0A3-EAD01D97509B}" srcOrd="0" destOrd="0" presId="urn:microsoft.com/office/officeart/2018/2/layout/IconVerticalSolidList"/>
    <dgm:cxn modelId="{D3EE28D4-F942-4293-A67A-9705C2846AEA}" type="presParOf" srcId="{AEEC0F5F-0D50-4428-B0A3-EAD01D97509B}" destId="{F84B0864-D226-4D87-BADD-EEEDDA925F11}" srcOrd="0" destOrd="0" presId="urn:microsoft.com/office/officeart/2018/2/layout/IconVerticalSolidList"/>
    <dgm:cxn modelId="{26F9982B-2BBC-4596-A238-78043BFDADBF}" type="presParOf" srcId="{AEEC0F5F-0D50-4428-B0A3-EAD01D97509B}" destId="{F766EFE3-415D-4304-9E1F-B24601766BE6}" srcOrd="1" destOrd="0" presId="urn:microsoft.com/office/officeart/2018/2/layout/IconVerticalSolidList"/>
    <dgm:cxn modelId="{8BD5D10B-2601-4F66-BC7B-F1C0D206C45A}" type="presParOf" srcId="{AEEC0F5F-0D50-4428-B0A3-EAD01D97509B}" destId="{BCD566CF-ACF3-4360-9CCD-3DF3D070861E}" srcOrd="2" destOrd="0" presId="urn:microsoft.com/office/officeart/2018/2/layout/IconVerticalSolidList"/>
    <dgm:cxn modelId="{9BB51713-5BBD-49A2-A28B-BC43CC2DED10}" type="presParOf" srcId="{AEEC0F5F-0D50-4428-B0A3-EAD01D97509B}" destId="{33287DC3-AE6F-40F4-BE66-D90FFC5738DF}" srcOrd="3" destOrd="0" presId="urn:microsoft.com/office/officeart/2018/2/layout/IconVerticalSolidList"/>
    <dgm:cxn modelId="{F8FE9393-7189-46B4-82E4-5EB310061F5F}" type="presParOf" srcId="{29460622-701B-46BC-A8AF-270E49A483BB}" destId="{ACE1996F-E57B-4249-905B-FB74B545EF8D}" srcOrd="1" destOrd="0" presId="urn:microsoft.com/office/officeart/2018/2/layout/IconVerticalSolidList"/>
    <dgm:cxn modelId="{CD8430B4-1352-4DEB-B9D3-CA1EE15FAA55}" type="presParOf" srcId="{29460622-701B-46BC-A8AF-270E49A483BB}" destId="{1A63DB32-2646-4460-BE15-81FE5B2088C4}" srcOrd="2" destOrd="0" presId="urn:microsoft.com/office/officeart/2018/2/layout/IconVerticalSolidList"/>
    <dgm:cxn modelId="{8006E1D4-93B5-43F5-BDC5-48B471C6C9D6}" type="presParOf" srcId="{1A63DB32-2646-4460-BE15-81FE5B2088C4}" destId="{1760CB8F-A7B6-425C-87C8-37F4625A5713}" srcOrd="0" destOrd="0" presId="urn:microsoft.com/office/officeart/2018/2/layout/IconVerticalSolidList"/>
    <dgm:cxn modelId="{6A705747-0019-47A0-9C3D-453464C56029}" type="presParOf" srcId="{1A63DB32-2646-4460-BE15-81FE5B2088C4}" destId="{07D55F2D-302F-4098-8089-F5A21C85CA99}" srcOrd="1" destOrd="0" presId="urn:microsoft.com/office/officeart/2018/2/layout/IconVerticalSolidList"/>
    <dgm:cxn modelId="{FF1F3E21-4656-4A09-A088-7B327EB59F1D}" type="presParOf" srcId="{1A63DB32-2646-4460-BE15-81FE5B2088C4}" destId="{2571FD3C-2489-4737-886C-AEFDD719C97D}" srcOrd="2" destOrd="0" presId="urn:microsoft.com/office/officeart/2018/2/layout/IconVerticalSolidList"/>
    <dgm:cxn modelId="{EFF0FAF0-0D59-4442-9859-38D46B65C43A}" type="presParOf" srcId="{1A63DB32-2646-4460-BE15-81FE5B2088C4}" destId="{EB5BB73F-7072-4BA6-BD00-F8302DC6807F}" srcOrd="3" destOrd="0" presId="urn:microsoft.com/office/officeart/2018/2/layout/IconVerticalSolidList"/>
    <dgm:cxn modelId="{31D375FA-52A1-4E2B-B32A-007A263156E7}" type="presParOf" srcId="{29460622-701B-46BC-A8AF-270E49A483BB}" destId="{7375323E-9E99-43E0-A74D-6D68A0C0F045}" srcOrd="3" destOrd="0" presId="urn:microsoft.com/office/officeart/2018/2/layout/IconVerticalSolidList"/>
    <dgm:cxn modelId="{26361C0F-C008-4E0A-8F96-B81677B3D054}" type="presParOf" srcId="{29460622-701B-46BC-A8AF-270E49A483BB}" destId="{356E615F-BBB6-4B9B-8EC9-AA7FFE304F1F}" srcOrd="4" destOrd="0" presId="urn:microsoft.com/office/officeart/2018/2/layout/IconVerticalSolidList"/>
    <dgm:cxn modelId="{5B8593EC-3F8F-4C0C-855A-998CAB1DC1DF}" type="presParOf" srcId="{356E615F-BBB6-4B9B-8EC9-AA7FFE304F1F}" destId="{BA7077DD-22EE-4AC8-8E95-035DBE264E6C}" srcOrd="0" destOrd="0" presId="urn:microsoft.com/office/officeart/2018/2/layout/IconVerticalSolidList"/>
    <dgm:cxn modelId="{7433AA40-3D45-47A9-A7A0-1037DFE00E98}" type="presParOf" srcId="{356E615F-BBB6-4B9B-8EC9-AA7FFE304F1F}" destId="{5CD601FA-A29E-486E-B057-AD261004DBB6}" srcOrd="1" destOrd="0" presId="urn:microsoft.com/office/officeart/2018/2/layout/IconVerticalSolidList"/>
    <dgm:cxn modelId="{8F514E1B-6F4B-45C1-A099-4342362E59B2}" type="presParOf" srcId="{356E615F-BBB6-4B9B-8EC9-AA7FFE304F1F}" destId="{B467503A-6E41-4A36-9A99-B571E50689B4}" srcOrd="2" destOrd="0" presId="urn:microsoft.com/office/officeart/2018/2/layout/IconVerticalSolidList"/>
    <dgm:cxn modelId="{571BD6AB-0F5C-49CD-8D5B-15144D999283}" type="presParOf" srcId="{356E615F-BBB6-4B9B-8EC9-AA7FFE304F1F}" destId="{83108701-8C5D-4588-AAAE-6976B344ED3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65EF2D5-FCB3-4CBE-9D86-9A5A9BE309A3}" type="doc">
      <dgm:prSet loTypeId="urn:microsoft.com/office/officeart/2005/8/layout/vList4" loCatId="list" qsTypeId="urn:microsoft.com/office/officeart/2005/8/quickstyle/simple4" qsCatId="simple" csTypeId="urn:microsoft.com/office/officeart/2005/8/colors/colorful4" csCatId="colorful" phldr="1"/>
      <dgm:spPr/>
      <dgm:t>
        <a:bodyPr/>
        <a:lstStyle/>
        <a:p>
          <a:endParaRPr lang="en-US"/>
        </a:p>
      </dgm:t>
    </dgm:pt>
    <dgm:pt modelId="{87F2C78F-55BA-4474-B26A-DE03AA180D89}">
      <dgm:prSet/>
      <dgm:spPr/>
      <dgm:t>
        <a:bodyPr/>
        <a:lstStyle/>
        <a:p>
          <a:r>
            <a:rPr lang="en-US" b="0" i="0" dirty="0"/>
            <a:t>Append</a:t>
          </a:r>
          <a:endParaRPr lang="en-US" dirty="0"/>
        </a:p>
      </dgm:t>
    </dgm:pt>
    <dgm:pt modelId="{F1BF9DC6-02BA-4006-ACEF-ABE9BCDD780C}" type="parTrans" cxnId="{423477C6-C5C5-47BA-BCDA-80BB99198190}">
      <dgm:prSet/>
      <dgm:spPr/>
      <dgm:t>
        <a:bodyPr/>
        <a:lstStyle/>
        <a:p>
          <a:endParaRPr lang="en-US"/>
        </a:p>
      </dgm:t>
    </dgm:pt>
    <dgm:pt modelId="{4421A515-E4ED-4821-9284-D66B7EE57DC2}" type="sibTrans" cxnId="{423477C6-C5C5-47BA-BCDA-80BB99198190}">
      <dgm:prSet/>
      <dgm:spPr/>
      <dgm:t>
        <a:bodyPr/>
        <a:lstStyle/>
        <a:p>
          <a:endParaRPr lang="en-US"/>
        </a:p>
      </dgm:t>
    </dgm:pt>
    <dgm:pt modelId="{3EBF749E-E953-4038-991E-F6F37C37E07E}">
      <dgm:prSet/>
      <dgm:spPr/>
      <dgm:t>
        <a:bodyPr/>
        <a:lstStyle/>
        <a:p>
          <a:r>
            <a:rPr lang="en-US" b="0" i="0" dirty="0"/>
            <a:t>Deny</a:t>
          </a:r>
          <a:endParaRPr lang="en-US" dirty="0"/>
        </a:p>
      </dgm:t>
    </dgm:pt>
    <dgm:pt modelId="{9B69446A-9A15-48AC-96C6-4F253B74B113}" type="parTrans" cxnId="{C295D1E7-DA9B-4382-BC33-AC17BA2DECD8}">
      <dgm:prSet/>
      <dgm:spPr/>
      <dgm:t>
        <a:bodyPr/>
        <a:lstStyle/>
        <a:p>
          <a:endParaRPr lang="en-US"/>
        </a:p>
      </dgm:t>
    </dgm:pt>
    <dgm:pt modelId="{EE21E889-46C3-4E49-8D12-3D199E8B25EE}" type="sibTrans" cxnId="{C295D1E7-DA9B-4382-BC33-AC17BA2DECD8}">
      <dgm:prSet/>
      <dgm:spPr/>
      <dgm:t>
        <a:bodyPr/>
        <a:lstStyle/>
        <a:p>
          <a:endParaRPr lang="en-US"/>
        </a:p>
      </dgm:t>
    </dgm:pt>
    <dgm:pt modelId="{1E4C2A2C-FDE0-4B10-83AD-6DFFD863C127}">
      <dgm:prSet/>
      <dgm:spPr/>
      <dgm:t>
        <a:bodyPr/>
        <a:lstStyle/>
        <a:p>
          <a:r>
            <a:rPr lang="en-US" b="0" i="0"/>
            <a:t>Audit</a:t>
          </a:r>
          <a:endParaRPr lang="en-US"/>
        </a:p>
      </dgm:t>
    </dgm:pt>
    <dgm:pt modelId="{58FBFDFA-1C49-4991-80E7-412F99C1188C}" type="parTrans" cxnId="{358322FC-0025-46A7-8CB3-835B5EC9C73F}">
      <dgm:prSet/>
      <dgm:spPr/>
      <dgm:t>
        <a:bodyPr/>
        <a:lstStyle/>
        <a:p>
          <a:endParaRPr lang="en-US"/>
        </a:p>
      </dgm:t>
    </dgm:pt>
    <dgm:pt modelId="{8795B139-3340-4985-A594-E89C714260B4}" type="sibTrans" cxnId="{358322FC-0025-46A7-8CB3-835B5EC9C73F}">
      <dgm:prSet/>
      <dgm:spPr/>
      <dgm:t>
        <a:bodyPr/>
        <a:lstStyle/>
        <a:p>
          <a:endParaRPr lang="en-US"/>
        </a:p>
      </dgm:t>
    </dgm:pt>
    <dgm:pt modelId="{8AD3EFC3-E6DD-4CE4-A307-F23DBBFF3675}">
      <dgm:prSet/>
      <dgm:spPr/>
      <dgm:t>
        <a:bodyPr/>
        <a:lstStyle/>
        <a:p>
          <a:r>
            <a:rPr lang="en-US" b="0" i="0"/>
            <a:t>DeployIfNotExists</a:t>
          </a:r>
          <a:endParaRPr lang="en-US"/>
        </a:p>
      </dgm:t>
    </dgm:pt>
    <dgm:pt modelId="{5BE7D0FE-5F7E-47E5-A9BC-8309DAF1AE25}" type="parTrans" cxnId="{5D302698-3B60-46FB-8FCC-8FCEC2DAE326}">
      <dgm:prSet/>
      <dgm:spPr/>
      <dgm:t>
        <a:bodyPr/>
        <a:lstStyle/>
        <a:p>
          <a:endParaRPr lang="en-US"/>
        </a:p>
      </dgm:t>
    </dgm:pt>
    <dgm:pt modelId="{B58738B7-AF90-44BD-9614-4B4210B8EF45}" type="sibTrans" cxnId="{5D302698-3B60-46FB-8FCC-8FCEC2DAE326}">
      <dgm:prSet/>
      <dgm:spPr/>
      <dgm:t>
        <a:bodyPr/>
        <a:lstStyle/>
        <a:p>
          <a:endParaRPr lang="en-US"/>
        </a:p>
      </dgm:t>
    </dgm:pt>
    <dgm:pt modelId="{1639A194-9C7D-4C9C-967F-035A89913E25}">
      <dgm:prSet/>
      <dgm:spPr/>
      <dgm:t>
        <a:bodyPr/>
        <a:lstStyle/>
        <a:p>
          <a:r>
            <a:rPr lang="en-US" b="0" i="0"/>
            <a:t>AuditIfNotExists</a:t>
          </a:r>
          <a:endParaRPr lang="en-US"/>
        </a:p>
      </dgm:t>
    </dgm:pt>
    <dgm:pt modelId="{5C3B52CB-7CF2-492F-BDC1-A85D71F5CEC1}" type="parTrans" cxnId="{C467B71A-F21C-49D1-B03C-19D7031DA7F2}">
      <dgm:prSet/>
      <dgm:spPr/>
      <dgm:t>
        <a:bodyPr/>
        <a:lstStyle/>
        <a:p>
          <a:endParaRPr lang="en-US"/>
        </a:p>
      </dgm:t>
    </dgm:pt>
    <dgm:pt modelId="{B0BD3031-79A4-48BC-A998-9D6D341CDDC8}" type="sibTrans" cxnId="{C467B71A-F21C-49D1-B03C-19D7031DA7F2}">
      <dgm:prSet/>
      <dgm:spPr/>
      <dgm:t>
        <a:bodyPr/>
        <a:lstStyle/>
        <a:p>
          <a:endParaRPr lang="en-US"/>
        </a:p>
      </dgm:t>
    </dgm:pt>
    <dgm:pt modelId="{DB7C500F-3EBC-4A50-898E-3566357EAA95}" type="pres">
      <dgm:prSet presAssocID="{865EF2D5-FCB3-4CBE-9D86-9A5A9BE309A3}" presName="linear" presStyleCnt="0">
        <dgm:presLayoutVars>
          <dgm:dir/>
          <dgm:resizeHandles val="exact"/>
        </dgm:presLayoutVars>
      </dgm:prSet>
      <dgm:spPr/>
    </dgm:pt>
    <dgm:pt modelId="{4CFC4046-41BA-4C4C-BCD7-C7EB9EF6BF5C}" type="pres">
      <dgm:prSet presAssocID="{87F2C78F-55BA-4474-B26A-DE03AA180D89}" presName="comp" presStyleCnt="0"/>
      <dgm:spPr/>
    </dgm:pt>
    <dgm:pt modelId="{11E50AB8-6586-4F19-AFEC-00217AD49B7D}" type="pres">
      <dgm:prSet presAssocID="{87F2C78F-55BA-4474-B26A-DE03AA180D89}" presName="box" presStyleLbl="node1" presStyleIdx="0" presStyleCnt="5"/>
      <dgm:spPr/>
    </dgm:pt>
    <dgm:pt modelId="{5A3CB90B-A2A8-49C2-A2C7-FAA94D24AACF}" type="pres">
      <dgm:prSet presAssocID="{87F2C78F-55BA-4474-B26A-DE03AA180D89}" presName="img" presStyleLbl="fgImgPlace1" presStyleIdx="0" presStyleCnt="5"/>
      <dgm:spPr>
        <a:prstGeom prst="downArrow">
          <a:avLst/>
        </a:prstGeom>
      </dgm:spPr>
    </dgm:pt>
    <dgm:pt modelId="{9C45C988-B373-40AA-8B6B-195F9ABED067}" type="pres">
      <dgm:prSet presAssocID="{87F2C78F-55BA-4474-B26A-DE03AA180D89}" presName="text" presStyleLbl="node1" presStyleIdx="0" presStyleCnt="5">
        <dgm:presLayoutVars>
          <dgm:bulletEnabled val="1"/>
        </dgm:presLayoutVars>
      </dgm:prSet>
      <dgm:spPr/>
    </dgm:pt>
    <dgm:pt modelId="{D74ACF88-7B22-4770-AB0F-C709E6AACFB7}" type="pres">
      <dgm:prSet presAssocID="{4421A515-E4ED-4821-9284-D66B7EE57DC2}" presName="spacer" presStyleCnt="0"/>
      <dgm:spPr/>
    </dgm:pt>
    <dgm:pt modelId="{727BBABB-7F58-4A94-8742-87D2ED825863}" type="pres">
      <dgm:prSet presAssocID="{3EBF749E-E953-4038-991E-F6F37C37E07E}" presName="comp" presStyleCnt="0"/>
      <dgm:spPr/>
    </dgm:pt>
    <dgm:pt modelId="{45086022-4FA1-4DA0-8557-9289FE8140BA}" type="pres">
      <dgm:prSet presAssocID="{3EBF749E-E953-4038-991E-F6F37C37E07E}" presName="box" presStyleLbl="node1" presStyleIdx="1" presStyleCnt="5"/>
      <dgm:spPr/>
    </dgm:pt>
    <dgm:pt modelId="{F94A9286-155B-45E1-99BE-5FADCC580818}" type="pres">
      <dgm:prSet presAssocID="{3EBF749E-E953-4038-991E-F6F37C37E07E}" presName="img" presStyleLbl="fgImgPlace1" presStyleIdx="1" presStyleCnt="5"/>
      <dgm:spPr>
        <a:prstGeom prst="downArrow">
          <a:avLst/>
        </a:prstGeom>
      </dgm:spPr>
    </dgm:pt>
    <dgm:pt modelId="{289E0B48-2124-445B-9E7B-1A8E57F31447}" type="pres">
      <dgm:prSet presAssocID="{3EBF749E-E953-4038-991E-F6F37C37E07E}" presName="text" presStyleLbl="node1" presStyleIdx="1" presStyleCnt="5">
        <dgm:presLayoutVars>
          <dgm:bulletEnabled val="1"/>
        </dgm:presLayoutVars>
      </dgm:prSet>
      <dgm:spPr/>
    </dgm:pt>
    <dgm:pt modelId="{78CF3DE0-E9E9-4629-A90E-43C0782F023A}" type="pres">
      <dgm:prSet presAssocID="{EE21E889-46C3-4E49-8D12-3D199E8B25EE}" presName="spacer" presStyleCnt="0"/>
      <dgm:spPr/>
    </dgm:pt>
    <dgm:pt modelId="{2491D296-2F62-46D6-9BAC-7EFCB0904302}" type="pres">
      <dgm:prSet presAssocID="{1E4C2A2C-FDE0-4B10-83AD-6DFFD863C127}" presName="comp" presStyleCnt="0"/>
      <dgm:spPr/>
    </dgm:pt>
    <dgm:pt modelId="{DFFFE311-2877-431E-BE3B-A3AB8A317E61}" type="pres">
      <dgm:prSet presAssocID="{1E4C2A2C-FDE0-4B10-83AD-6DFFD863C127}" presName="box" presStyleLbl="node1" presStyleIdx="2" presStyleCnt="5"/>
      <dgm:spPr/>
    </dgm:pt>
    <dgm:pt modelId="{C06F513D-B41F-4130-A88C-3D1CAFB72FA2}" type="pres">
      <dgm:prSet presAssocID="{1E4C2A2C-FDE0-4B10-83AD-6DFFD863C127}" presName="img" presStyleLbl="fgImgPlace1" presStyleIdx="2" presStyleCnt="5"/>
      <dgm:spPr>
        <a:prstGeom prst="downArrow">
          <a:avLst/>
        </a:prstGeom>
      </dgm:spPr>
    </dgm:pt>
    <dgm:pt modelId="{BF0C0B82-7D3E-4ABF-96E7-DF719F75263B}" type="pres">
      <dgm:prSet presAssocID="{1E4C2A2C-FDE0-4B10-83AD-6DFFD863C127}" presName="text" presStyleLbl="node1" presStyleIdx="2" presStyleCnt="5">
        <dgm:presLayoutVars>
          <dgm:bulletEnabled val="1"/>
        </dgm:presLayoutVars>
      </dgm:prSet>
      <dgm:spPr/>
    </dgm:pt>
    <dgm:pt modelId="{03D4FCE2-5778-40A3-A59D-2D4293BC8F76}" type="pres">
      <dgm:prSet presAssocID="{8795B139-3340-4985-A594-E89C714260B4}" presName="spacer" presStyleCnt="0"/>
      <dgm:spPr/>
    </dgm:pt>
    <dgm:pt modelId="{DA63FB6A-8462-4336-978D-D9BE08FDE6AE}" type="pres">
      <dgm:prSet presAssocID="{8AD3EFC3-E6DD-4CE4-A307-F23DBBFF3675}" presName="comp" presStyleCnt="0"/>
      <dgm:spPr/>
    </dgm:pt>
    <dgm:pt modelId="{45876F30-C09F-4B8E-B588-4140C71BEABA}" type="pres">
      <dgm:prSet presAssocID="{8AD3EFC3-E6DD-4CE4-A307-F23DBBFF3675}" presName="box" presStyleLbl="node1" presStyleIdx="3" presStyleCnt="5"/>
      <dgm:spPr/>
    </dgm:pt>
    <dgm:pt modelId="{08C1C6A9-8799-4C38-83BD-DA3DAD97F461}" type="pres">
      <dgm:prSet presAssocID="{8AD3EFC3-E6DD-4CE4-A307-F23DBBFF3675}" presName="img" presStyleLbl="fgImgPlace1" presStyleIdx="3" presStyleCnt="5"/>
      <dgm:spPr>
        <a:prstGeom prst="downArrow">
          <a:avLst/>
        </a:prstGeom>
      </dgm:spPr>
    </dgm:pt>
    <dgm:pt modelId="{98166EBD-4B65-4B0F-B937-C9EA52624363}" type="pres">
      <dgm:prSet presAssocID="{8AD3EFC3-E6DD-4CE4-A307-F23DBBFF3675}" presName="text" presStyleLbl="node1" presStyleIdx="3" presStyleCnt="5">
        <dgm:presLayoutVars>
          <dgm:bulletEnabled val="1"/>
        </dgm:presLayoutVars>
      </dgm:prSet>
      <dgm:spPr/>
    </dgm:pt>
    <dgm:pt modelId="{A8B9ECBC-EA0B-48F2-BC55-B6C9CF116F35}" type="pres">
      <dgm:prSet presAssocID="{B58738B7-AF90-44BD-9614-4B4210B8EF45}" presName="spacer" presStyleCnt="0"/>
      <dgm:spPr/>
    </dgm:pt>
    <dgm:pt modelId="{F7035429-4C5C-4C82-875D-A8EFD11AE19C}" type="pres">
      <dgm:prSet presAssocID="{1639A194-9C7D-4C9C-967F-035A89913E25}" presName="comp" presStyleCnt="0"/>
      <dgm:spPr/>
    </dgm:pt>
    <dgm:pt modelId="{18533AF9-97E5-4C65-A97F-C1A5CD4401C0}" type="pres">
      <dgm:prSet presAssocID="{1639A194-9C7D-4C9C-967F-035A89913E25}" presName="box" presStyleLbl="node1" presStyleIdx="4" presStyleCnt="5"/>
      <dgm:spPr/>
    </dgm:pt>
    <dgm:pt modelId="{CD57BC29-78BF-4EBF-B2BC-82D8C1B4CC15}" type="pres">
      <dgm:prSet presAssocID="{1639A194-9C7D-4C9C-967F-035A89913E25}" presName="img" presStyleLbl="fgImgPlace1" presStyleIdx="4" presStyleCnt="5"/>
      <dgm:spPr>
        <a:prstGeom prst="downArrow">
          <a:avLst/>
        </a:prstGeom>
      </dgm:spPr>
    </dgm:pt>
    <dgm:pt modelId="{582E7915-FF15-473A-815E-2B01B73B6DC3}" type="pres">
      <dgm:prSet presAssocID="{1639A194-9C7D-4C9C-967F-035A89913E25}" presName="text" presStyleLbl="node1" presStyleIdx="4" presStyleCnt="5">
        <dgm:presLayoutVars>
          <dgm:bulletEnabled val="1"/>
        </dgm:presLayoutVars>
      </dgm:prSet>
      <dgm:spPr/>
    </dgm:pt>
  </dgm:ptLst>
  <dgm:cxnLst>
    <dgm:cxn modelId="{D4410807-DE26-46F1-BB2C-7856E107242B}" type="presOf" srcId="{3EBF749E-E953-4038-991E-F6F37C37E07E}" destId="{45086022-4FA1-4DA0-8557-9289FE8140BA}" srcOrd="0" destOrd="0" presId="urn:microsoft.com/office/officeart/2005/8/layout/vList4"/>
    <dgm:cxn modelId="{C467B71A-F21C-49D1-B03C-19D7031DA7F2}" srcId="{865EF2D5-FCB3-4CBE-9D86-9A5A9BE309A3}" destId="{1639A194-9C7D-4C9C-967F-035A89913E25}" srcOrd="4" destOrd="0" parTransId="{5C3B52CB-7CF2-492F-BDC1-A85D71F5CEC1}" sibTransId="{B0BD3031-79A4-48BC-A998-9D6D341CDDC8}"/>
    <dgm:cxn modelId="{38363C3A-6611-4DF0-85A0-DD7FE3A8B53F}" type="presOf" srcId="{87F2C78F-55BA-4474-B26A-DE03AA180D89}" destId="{11E50AB8-6586-4F19-AFEC-00217AD49B7D}" srcOrd="0" destOrd="0" presId="urn:microsoft.com/office/officeart/2005/8/layout/vList4"/>
    <dgm:cxn modelId="{C3DA5442-ED06-4630-9F04-D40E2779EEAD}" type="presOf" srcId="{1E4C2A2C-FDE0-4B10-83AD-6DFFD863C127}" destId="{DFFFE311-2877-431E-BE3B-A3AB8A317E61}" srcOrd="0" destOrd="0" presId="urn:microsoft.com/office/officeart/2005/8/layout/vList4"/>
    <dgm:cxn modelId="{CE378C71-970F-4776-99E3-3167F215BAE5}" type="presOf" srcId="{3EBF749E-E953-4038-991E-F6F37C37E07E}" destId="{289E0B48-2124-445B-9E7B-1A8E57F31447}" srcOrd="1" destOrd="0" presId="urn:microsoft.com/office/officeart/2005/8/layout/vList4"/>
    <dgm:cxn modelId="{B0026581-4488-450B-93CD-1985E74177FC}" type="presOf" srcId="{8AD3EFC3-E6DD-4CE4-A307-F23DBBFF3675}" destId="{45876F30-C09F-4B8E-B588-4140C71BEABA}" srcOrd="0" destOrd="0" presId="urn:microsoft.com/office/officeart/2005/8/layout/vList4"/>
    <dgm:cxn modelId="{92BBC082-F748-4C71-8C38-7FBA9FEA1FF3}" type="presOf" srcId="{8AD3EFC3-E6DD-4CE4-A307-F23DBBFF3675}" destId="{98166EBD-4B65-4B0F-B937-C9EA52624363}" srcOrd="1" destOrd="0" presId="urn:microsoft.com/office/officeart/2005/8/layout/vList4"/>
    <dgm:cxn modelId="{B9E5BF89-690C-423B-A61E-332E3A34845B}" type="presOf" srcId="{87F2C78F-55BA-4474-B26A-DE03AA180D89}" destId="{9C45C988-B373-40AA-8B6B-195F9ABED067}" srcOrd="1" destOrd="0" presId="urn:microsoft.com/office/officeart/2005/8/layout/vList4"/>
    <dgm:cxn modelId="{5D302698-3B60-46FB-8FCC-8FCEC2DAE326}" srcId="{865EF2D5-FCB3-4CBE-9D86-9A5A9BE309A3}" destId="{8AD3EFC3-E6DD-4CE4-A307-F23DBBFF3675}" srcOrd="3" destOrd="0" parTransId="{5BE7D0FE-5F7E-47E5-A9BC-8309DAF1AE25}" sibTransId="{B58738B7-AF90-44BD-9614-4B4210B8EF45}"/>
    <dgm:cxn modelId="{423477C6-C5C5-47BA-BCDA-80BB99198190}" srcId="{865EF2D5-FCB3-4CBE-9D86-9A5A9BE309A3}" destId="{87F2C78F-55BA-4474-B26A-DE03AA180D89}" srcOrd="0" destOrd="0" parTransId="{F1BF9DC6-02BA-4006-ACEF-ABE9BCDD780C}" sibTransId="{4421A515-E4ED-4821-9284-D66B7EE57DC2}"/>
    <dgm:cxn modelId="{C295D1E7-DA9B-4382-BC33-AC17BA2DECD8}" srcId="{865EF2D5-FCB3-4CBE-9D86-9A5A9BE309A3}" destId="{3EBF749E-E953-4038-991E-F6F37C37E07E}" srcOrd="1" destOrd="0" parTransId="{9B69446A-9A15-48AC-96C6-4F253B74B113}" sibTransId="{EE21E889-46C3-4E49-8D12-3D199E8B25EE}"/>
    <dgm:cxn modelId="{52D75EE8-AC70-46F2-A019-8FD86D412801}" type="presOf" srcId="{865EF2D5-FCB3-4CBE-9D86-9A5A9BE309A3}" destId="{DB7C500F-3EBC-4A50-898E-3566357EAA95}" srcOrd="0" destOrd="0" presId="urn:microsoft.com/office/officeart/2005/8/layout/vList4"/>
    <dgm:cxn modelId="{E09A1DEA-A55B-48FC-A969-24F32A9B52E7}" type="presOf" srcId="{1E4C2A2C-FDE0-4B10-83AD-6DFFD863C127}" destId="{BF0C0B82-7D3E-4ABF-96E7-DF719F75263B}" srcOrd="1" destOrd="0" presId="urn:microsoft.com/office/officeart/2005/8/layout/vList4"/>
    <dgm:cxn modelId="{09ED24F5-1F2A-401E-8FC1-498F62ABD100}" type="presOf" srcId="{1639A194-9C7D-4C9C-967F-035A89913E25}" destId="{582E7915-FF15-473A-815E-2B01B73B6DC3}" srcOrd="1" destOrd="0" presId="urn:microsoft.com/office/officeart/2005/8/layout/vList4"/>
    <dgm:cxn modelId="{358322FC-0025-46A7-8CB3-835B5EC9C73F}" srcId="{865EF2D5-FCB3-4CBE-9D86-9A5A9BE309A3}" destId="{1E4C2A2C-FDE0-4B10-83AD-6DFFD863C127}" srcOrd="2" destOrd="0" parTransId="{58FBFDFA-1C49-4991-80E7-412F99C1188C}" sibTransId="{8795B139-3340-4985-A594-E89C714260B4}"/>
    <dgm:cxn modelId="{E030FCFC-4AF3-4D52-AB84-A7065CDADBC6}" type="presOf" srcId="{1639A194-9C7D-4C9C-967F-035A89913E25}" destId="{18533AF9-97E5-4C65-A97F-C1A5CD4401C0}" srcOrd="0" destOrd="0" presId="urn:microsoft.com/office/officeart/2005/8/layout/vList4"/>
    <dgm:cxn modelId="{51920186-21C3-4B37-916D-7097CFACC0BD}" type="presParOf" srcId="{DB7C500F-3EBC-4A50-898E-3566357EAA95}" destId="{4CFC4046-41BA-4C4C-BCD7-C7EB9EF6BF5C}" srcOrd="0" destOrd="0" presId="urn:microsoft.com/office/officeart/2005/8/layout/vList4"/>
    <dgm:cxn modelId="{93FE3037-3822-4CF8-8474-135F721DF317}" type="presParOf" srcId="{4CFC4046-41BA-4C4C-BCD7-C7EB9EF6BF5C}" destId="{11E50AB8-6586-4F19-AFEC-00217AD49B7D}" srcOrd="0" destOrd="0" presId="urn:microsoft.com/office/officeart/2005/8/layout/vList4"/>
    <dgm:cxn modelId="{AA483C23-6A2E-484D-8ADC-C24529CB9DD9}" type="presParOf" srcId="{4CFC4046-41BA-4C4C-BCD7-C7EB9EF6BF5C}" destId="{5A3CB90B-A2A8-49C2-A2C7-FAA94D24AACF}" srcOrd="1" destOrd="0" presId="urn:microsoft.com/office/officeart/2005/8/layout/vList4"/>
    <dgm:cxn modelId="{4C9070B4-0ED7-45CD-A6D1-071CE0E717FA}" type="presParOf" srcId="{4CFC4046-41BA-4C4C-BCD7-C7EB9EF6BF5C}" destId="{9C45C988-B373-40AA-8B6B-195F9ABED067}" srcOrd="2" destOrd="0" presId="urn:microsoft.com/office/officeart/2005/8/layout/vList4"/>
    <dgm:cxn modelId="{85B86FDB-F00F-4311-A606-3DF5B0A3E3E8}" type="presParOf" srcId="{DB7C500F-3EBC-4A50-898E-3566357EAA95}" destId="{D74ACF88-7B22-4770-AB0F-C709E6AACFB7}" srcOrd="1" destOrd="0" presId="urn:microsoft.com/office/officeart/2005/8/layout/vList4"/>
    <dgm:cxn modelId="{1972EBF4-A348-4268-9653-59703C477709}" type="presParOf" srcId="{DB7C500F-3EBC-4A50-898E-3566357EAA95}" destId="{727BBABB-7F58-4A94-8742-87D2ED825863}" srcOrd="2" destOrd="0" presId="urn:microsoft.com/office/officeart/2005/8/layout/vList4"/>
    <dgm:cxn modelId="{92B36C73-48AD-4C66-8AB3-4ACA45645B0E}" type="presParOf" srcId="{727BBABB-7F58-4A94-8742-87D2ED825863}" destId="{45086022-4FA1-4DA0-8557-9289FE8140BA}" srcOrd="0" destOrd="0" presId="urn:microsoft.com/office/officeart/2005/8/layout/vList4"/>
    <dgm:cxn modelId="{7289D453-439C-49EF-B71A-4F2179FD4086}" type="presParOf" srcId="{727BBABB-7F58-4A94-8742-87D2ED825863}" destId="{F94A9286-155B-45E1-99BE-5FADCC580818}" srcOrd="1" destOrd="0" presId="urn:microsoft.com/office/officeart/2005/8/layout/vList4"/>
    <dgm:cxn modelId="{ABECDA09-1094-402C-B5F5-A634B979A4A5}" type="presParOf" srcId="{727BBABB-7F58-4A94-8742-87D2ED825863}" destId="{289E0B48-2124-445B-9E7B-1A8E57F31447}" srcOrd="2" destOrd="0" presId="urn:microsoft.com/office/officeart/2005/8/layout/vList4"/>
    <dgm:cxn modelId="{DC5710B8-CCAD-4C4F-93C9-127FA86437C1}" type="presParOf" srcId="{DB7C500F-3EBC-4A50-898E-3566357EAA95}" destId="{78CF3DE0-E9E9-4629-A90E-43C0782F023A}" srcOrd="3" destOrd="0" presId="urn:microsoft.com/office/officeart/2005/8/layout/vList4"/>
    <dgm:cxn modelId="{6869CE2D-7E9C-4B38-9D14-AB2748D4106E}" type="presParOf" srcId="{DB7C500F-3EBC-4A50-898E-3566357EAA95}" destId="{2491D296-2F62-46D6-9BAC-7EFCB0904302}" srcOrd="4" destOrd="0" presId="urn:microsoft.com/office/officeart/2005/8/layout/vList4"/>
    <dgm:cxn modelId="{A297DDC0-9DE6-4B4B-93F1-E625F51C0CD0}" type="presParOf" srcId="{2491D296-2F62-46D6-9BAC-7EFCB0904302}" destId="{DFFFE311-2877-431E-BE3B-A3AB8A317E61}" srcOrd="0" destOrd="0" presId="urn:microsoft.com/office/officeart/2005/8/layout/vList4"/>
    <dgm:cxn modelId="{0E622CD2-57E2-462F-B27F-A9CB051BF711}" type="presParOf" srcId="{2491D296-2F62-46D6-9BAC-7EFCB0904302}" destId="{C06F513D-B41F-4130-A88C-3D1CAFB72FA2}" srcOrd="1" destOrd="0" presId="urn:microsoft.com/office/officeart/2005/8/layout/vList4"/>
    <dgm:cxn modelId="{86D7085E-C0B7-4538-A14C-C68272918902}" type="presParOf" srcId="{2491D296-2F62-46D6-9BAC-7EFCB0904302}" destId="{BF0C0B82-7D3E-4ABF-96E7-DF719F75263B}" srcOrd="2" destOrd="0" presId="urn:microsoft.com/office/officeart/2005/8/layout/vList4"/>
    <dgm:cxn modelId="{1604A9BF-241B-4B5B-8EF7-7B05A19DDE88}" type="presParOf" srcId="{DB7C500F-3EBC-4A50-898E-3566357EAA95}" destId="{03D4FCE2-5778-40A3-A59D-2D4293BC8F76}" srcOrd="5" destOrd="0" presId="urn:microsoft.com/office/officeart/2005/8/layout/vList4"/>
    <dgm:cxn modelId="{6941EB6D-ABDD-4CC0-ADBD-EF0E27B44370}" type="presParOf" srcId="{DB7C500F-3EBC-4A50-898E-3566357EAA95}" destId="{DA63FB6A-8462-4336-978D-D9BE08FDE6AE}" srcOrd="6" destOrd="0" presId="urn:microsoft.com/office/officeart/2005/8/layout/vList4"/>
    <dgm:cxn modelId="{7CBD5056-636D-4F31-8509-4DFF4218AC51}" type="presParOf" srcId="{DA63FB6A-8462-4336-978D-D9BE08FDE6AE}" destId="{45876F30-C09F-4B8E-B588-4140C71BEABA}" srcOrd="0" destOrd="0" presId="urn:microsoft.com/office/officeart/2005/8/layout/vList4"/>
    <dgm:cxn modelId="{F13F65DD-BC82-40E1-92F5-9F4B1BC1F125}" type="presParOf" srcId="{DA63FB6A-8462-4336-978D-D9BE08FDE6AE}" destId="{08C1C6A9-8799-4C38-83BD-DA3DAD97F461}" srcOrd="1" destOrd="0" presId="urn:microsoft.com/office/officeart/2005/8/layout/vList4"/>
    <dgm:cxn modelId="{AC998EEA-7251-4821-80D2-40D27E570DB5}" type="presParOf" srcId="{DA63FB6A-8462-4336-978D-D9BE08FDE6AE}" destId="{98166EBD-4B65-4B0F-B937-C9EA52624363}" srcOrd="2" destOrd="0" presId="urn:microsoft.com/office/officeart/2005/8/layout/vList4"/>
    <dgm:cxn modelId="{A6656838-4E17-4B98-818C-E91624C12189}" type="presParOf" srcId="{DB7C500F-3EBC-4A50-898E-3566357EAA95}" destId="{A8B9ECBC-EA0B-48F2-BC55-B6C9CF116F35}" srcOrd="7" destOrd="0" presId="urn:microsoft.com/office/officeart/2005/8/layout/vList4"/>
    <dgm:cxn modelId="{C87F49C5-A5B7-44FC-AE13-3C46F576AB3C}" type="presParOf" srcId="{DB7C500F-3EBC-4A50-898E-3566357EAA95}" destId="{F7035429-4C5C-4C82-875D-A8EFD11AE19C}" srcOrd="8" destOrd="0" presId="urn:microsoft.com/office/officeart/2005/8/layout/vList4"/>
    <dgm:cxn modelId="{89673120-D2CA-435E-B2F9-F258CF418445}" type="presParOf" srcId="{F7035429-4C5C-4C82-875D-A8EFD11AE19C}" destId="{18533AF9-97E5-4C65-A97F-C1A5CD4401C0}" srcOrd="0" destOrd="0" presId="urn:microsoft.com/office/officeart/2005/8/layout/vList4"/>
    <dgm:cxn modelId="{3C8D7461-0C52-4313-9031-435F58980D76}" type="presParOf" srcId="{F7035429-4C5C-4C82-875D-A8EFD11AE19C}" destId="{CD57BC29-78BF-4EBF-B2BC-82D8C1B4CC15}" srcOrd="1" destOrd="0" presId="urn:microsoft.com/office/officeart/2005/8/layout/vList4"/>
    <dgm:cxn modelId="{40AA827E-7E04-4A11-B84C-F640B3C635EF}" type="presParOf" srcId="{F7035429-4C5C-4C82-875D-A8EFD11AE19C}" destId="{582E7915-FF15-473A-815E-2B01B73B6DC3}"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C75BA42-82DD-4E45-91F2-D4E9F2E09343}" type="doc">
      <dgm:prSet loTypeId="urn:microsoft.com/office/officeart/2005/8/layout/hierarchy1" loCatId="hierarchy" qsTypeId="urn:microsoft.com/office/officeart/2005/8/quickstyle/simple1" qsCatId="simple" csTypeId="urn:microsoft.com/office/officeart/2005/8/colors/accent0_3" csCatId="mainScheme"/>
      <dgm:spPr/>
      <dgm:t>
        <a:bodyPr/>
        <a:lstStyle/>
        <a:p>
          <a:endParaRPr lang="en-US"/>
        </a:p>
      </dgm:t>
    </dgm:pt>
    <dgm:pt modelId="{AF496D46-47FC-4B64-8052-939CDFD67A64}">
      <dgm:prSet/>
      <dgm:spPr/>
      <dgm:t>
        <a:bodyPr/>
        <a:lstStyle/>
        <a:p>
          <a:r>
            <a:rPr lang="en-US" b="1" dirty="0"/>
            <a:t>RBAC</a:t>
          </a:r>
          <a:r>
            <a:rPr lang="en-US" dirty="0"/>
            <a:t> focuses on user actions at a specific scope (resource, subscription, etc.)</a:t>
          </a:r>
        </a:p>
      </dgm:t>
    </dgm:pt>
    <dgm:pt modelId="{A859183D-BAE2-4A15-B795-A294B8977A1B}" type="parTrans" cxnId="{F24535BE-C488-4FCA-B849-29A8CCB36A2C}">
      <dgm:prSet/>
      <dgm:spPr/>
      <dgm:t>
        <a:bodyPr/>
        <a:lstStyle/>
        <a:p>
          <a:endParaRPr lang="en-US"/>
        </a:p>
      </dgm:t>
    </dgm:pt>
    <dgm:pt modelId="{75F792A4-0BC4-48B7-BD21-A3338D8D7270}" type="sibTrans" cxnId="{F24535BE-C488-4FCA-B849-29A8CCB36A2C}">
      <dgm:prSet/>
      <dgm:spPr/>
      <dgm:t>
        <a:bodyPr/>
        <a:lstStyle/>
        <a:p>
          <a:endParaRPr lang="en-US"/>
        </a:p>
      </dgm:t>
    </dgm:pt>
    <dgm:pt modelId="{2E2B1C59-85D8-4712-A2D1-7EFF0E54C8B9}">
      <dgm:prSet/>
      <dgm:spPr/>
      <dgm:t>
        <a:bodyPr/>
        <a:lstStyle/>
        <a:p>
          <a:r>
            <a:rPr lang="en-US" b="1" dirty="0"/>
            <a:t>Policy</a:t>
          </a:r>
          <a:r>
            <a:rPr lang="en-US" dirty="0"/>
            <a:t> focuses on resource properties (what is allowed, where, with what attributes, etc.)</a:t>
          </a:r>
        </a:p>
      </dgm:t>
    </dgm:pt>
    <dgm:pt modelId="{0F8029DF-70EF-4A52-9CB3-CE1A76BF6840}" type="parTrans" cxnId="{A8747879-BA17-48B2-859B-67F9A0D17517}">
      <dgm:prSet/>
      <dgm:spPr/>
      <dgm:t>
        <a:bodyPr/>
        <a:lstStyle/>
        <a:p>
          <a:endParaRPr lang="en-US"/>
        </a:p>
      </dgm:t>
    </dgm:pt>
    <dgm:pt modelId="{C97D4553-6F0C-440C-A976-B8E1BDFA50EF}" type="sibTrans" cxnId="{A8747879-BA17-48B2-859B-67F9A0D17517}">
      <dgm:prSet/>
      <dgm:spPr/>
      <dgm:t>
        <a:bodyPr/>
        <a:lstStyle/>
        <a:p>
          <a:endParaRPr lang="en-US"/>
        </a:p>
      </dgm:t>
    </dgm:pt>
    <dgm:pt modelId="{AE3E52DE-5899-4E7E-98FB-0F6C0A43DD7E}" type="pres">
      <dgm:prSet presAssocID="{AC75BA42-82DD-4E45-91F2-D4E9F2E09343}" presName="hierChild1" presStyleCnt="0">
        <dgm:presLayoutVars>
          <dgm:chPref val="1"/>
          <dgm:dir/>
          <dgm:animOne val="branch"/>
          <dgm:animLvl val="lvl"/>
          <dgm:resizeHandles/>
        </dgm:presLayoutVars>
      </dgm:prSet>
      <dgm:spPr/>
    </dgm:pt>
    <dgm:pt modelId="{1B3106CF-E408-48E7-8511-1CD7E19E1C4F}" type="pres">
      <dgm:prSet presAssocID="{AF496D46-47FC-4B64-8052-939CDFD67A64}" presName="hierRoot1" presStyleCnt="0"/>
      <dgm:spPr/>
    </dgm:pt>
    <dgm:pt modelId="{D2AF7FE2-B180-4F4D-AECF-9B379E2C6966}" type="pres">
      <dgm:prSet presAssocID="{AF496D46-47FC-4B64-8052-939CDFD67A64}" presName="composite" presStyleCnt="0"/>
      <dgm:spPr/>
    </dgm:pt>
    <dgm:pt modelId="{76786B1D-C0BD-4BDE-A5BE-5384E91EF33D}" type="pres">
      <dgm:prSet presAssocID="{AF496D46-47FC-4B64-8052-939CDFD67A64}" presName="background" presStyleLbl="node0" presStyleIdx="0" presStyleCnt="2"/>
      <dgm:spPr/>
    </dgm:pt>
    <dgm:pt modelId="{0C74B394-2610-4236-B8B0-6E4057341C80}" type="pres">
      <dgm:prSet presAssocID="{AF496D46-47FC-4B64-8052-939CDFD67A64}" presName="text" presStyleLbl="fgAcc0" presStyleIdx="0" presStyleCnt="2">
        <dgm:presLayoutVars>
          <dgm:chPref val="3"/>
        </dgm:presLayoutVars>
      </dgm:prSet>
      <dgm:spPr/>
    </dgm:pt>
    <dgm:pt modelId="{F06EA094-5C41-4E62-B69A-5C8EEE2E70EF}" type="pres">
      <dgm:prSet presAssocID="{AF496D46-47FC-4B64-8052-939CDFD67A64}" presName="hierChild2" presStyleCnt="0"/>
      <dgm:spPr/>
    </dgm:pt>
    <dgm:pt modelId="{6298884D-893D-450A-8FC0-8F7B51585BC6}" type="pres">
      <dgm:prSet presAssocID="{2E2B1C59-85D8-4712-A2D1-7EFF0E54C8B9}" presName="hierRoot1" presStyleCnt="0"/>
      <dgm:spPr/>
    </dgm:pt>
    <dgm:pt modelId="{4A2FDD2C-DBE5-4962-8C98-199818100862}" type="pres">
      <dgm:prSet presAssocID="{2E2B1C59-85D8-4712-A2D1-7EFF0E54C8B9}" presName="composite" presStyleCnt="0"/>
      <dgm:spPr/>
    </dgm:pt>
    <dgm:pt modelId="{D373998D-F7FD-4561-94AB-6DA6D6182DAF}" type="pres">
      <dgm:prSet presAssocID="{2E2B1C59-85D8-4712-A2D1-7EFF0E54C8B9}" presName="background" presStyleLbl="node0" presStyleIdx="1" presStyleCnt="2"/>
      <dgm:spPr/>
    </dgm:pt>
    <dgm:pt modelId="{C07C101D-4754-4881-9ED8-F2D768376FCE}" type="pres">
      <dgm:prSet presAssocID="{2E2B1C59-85D8-4712-A2D1-7EFF0E54C8B9}" presName="text" presStyleLbl="fgAcc0" presStyleIdx="1" presStyleCnt="2">
        <dgm:presLayoutVars>
          <dgm:chPref val="3"/>
        </dgm:presLayoutVars>
      </dgm:prSet>
      <dgm:spPr/>
    </dgm:pt>
    <dgm:pt modelId="{2F70675C-2503-417D-9C5D-E4EFC715F329}" type="pres">
      <dgm:prSet presAssocID="{2E2B1C59-85D8-4712-A2D1-7EFF0E54C8B9}" presName="hierChild2" presStyleCnt="0"/>
      <dgm:spPr/>
    </dgm:pt>
  </dgm:ptLst>
  <dgm:cxnLst>
    <dgm:cxn modelId="{06BE6C2D-88BE-482F-8C51-6D501679101A}" type="presOf" srcId="{AC75BA42-82DD-4E45-91F2-D4E9F2E09343}" destId="{AE3E52DE-5899-4E7E-98FB-0F6C0A43DD7E}" srcOrd="0" destOrd="0" presId="urn:microsoft.com/office/officeart/2005/8/layout/hierarchy1"/>
    <dgm:cxn modelId="{A8747879-BA17-48B2-859B-67F9A0D17517}" srcId="{AC75BA42-82DD-4E45-91F2-D4E9F2E09343}" destId="{2E2B1C59-85D8-4712-A2D1-7EFF0E54C8B9}" srcOrd="1" destOrd="0" parTransId="{0F8029DF-70EF-4A52-9CB3-CE1A76BF6840}" sibTransId="{C97D4553-6F0C-440C-A976-B8E1BDFA50EF}"/>
    <dgm:cxn modelId="{9EBB8F95-B39B-492D-A4C4-0104F60F5CEB}" type="presOf" srcId="{AF496D46-47FC-4B64-8052-939CDFD67A64}" destId="{0C74B394-2610-4236-B8B0-6E4057341C80}" srcOrd="0" destOrd="0" presId="urn:microsoft.com/office/officeart/2005/8/layout/hierarchy1"/>
    <dgm:cxn modelId="{F24535BE-C488-4FCA-B849-29A8CCB36A2C}" srcId="{AC75BA42-82DD-4E45-91F2-D4E9F2E09343}" destId="{AF496D46-47FC-4B64-8052-939CDFD67A64}" srcOrd="0" destOrd="0" parTransId="{A859183D-BAE2-4A15-B795-A294B8977A1B}" sibTransId="{75F792A4-0BC4-48B7-BD21-A3338D8D7270}"/>
    <dgm:cxn modelId="{962CA1C8-528D-4419-8361-D00BB4A63902}" type="presOf" srcId="{2E2B1C59-85D8-4712-A2D1-7EFF0E54C8B9}" destId="{C07C101D-4754-4881-9ED8-F2D768376FCE}" srcOrd="0" destOrd="0" presId="urn:microsoft.com/office/officeart/2005/8/layout/hierarchy1"/>
    <dgm:cxn modelId="{B8C0F0EB-FC81-4BB4-901E-644C02950BCD}" type="presParOf" srcId="{AE3E52DE-5899-4E7E-98FB-0F6C0A43DD7E}" destId="{1B3106CF-E408-48E7-8511-1CD7E19E1C4F}" srcOrd="0" destOrd="0" presId="urn:microsoft.com/office/officeart/2005/8/layout/hierarchy1"/>
    <dgm:cxn modelId="{09198DB2-BA6F-418F-81AC-AE2EC502E4AC}" type="presParOf" srcId="{1B3106CF-E408-48E7-8511-1CD7E19E1C4F}" destId="{D2AF7FE2-B180-4F4D-AECF-9B379E2C6966}" srcOrd="0" destOrd="0" presId="urn:microsoft.com/office/officeart/2005/8/layout/hierarchy1"/>
    <dgm:cxn modelId="{D9F2ECFB-9EFA-45AF-B00C-64C3EF5EC55D}" type="presParOf" srcId="{D2AF7FE2-B180-4F4D-AECF-9B379E2C6966}" destId="{76786B1D-C0BD-4BDE-A5BE-5384E91EF33D}" srcOrd="0" destOrd="0" presId="urn:microsoft.com/office/officeart/2005/8/layout/hierarchy1"/>
    <dgm:cxn modelId="{56BC287F-515F-4963-877D-F607CF49A503}" type="presParOf" srcId="{D2AF7FE2-B180-4F4D-AECF-9B379E2C6966}" destId="{0C74B394-2610-4236-B8B0-6E4057341C80}" srcOrd="1" destOrd="0" presId="urn:microsoft.com/office/officeart/2005/8/layout/hierarchy1"/>
    <dgm:cxn modelId="{53CCF804-5361-4A14-89B2-A07ED8BFD3A2}" type="presParOf" srcId="{1B3106CF-E408-48E7-8511-1CD7E19E1C4F}" destId="{F06EA094-5C41-4E62-B69A-5C8EEE2E70EF}" srcOrd="1" destOrd="0" presId="urn:microsoft.com/office/officeart/2005/8/layout/hierarchy1"/>
    <dgm:cxn modelId="{90CB6D18-EA2A-4A97-AF80-279E532F7ECF}" type="presParOf" srcId="{AE3E52DE-5899-4E7E-98FB-0F6C0A43DD7E}" destId="{6298884D-893D-450A-8FC0-8F7B51585BC6}" srcOrd="1" destOrd="0" presId="urn:microsoft.com/office/officeart/2005/8/layout/hierarchy1"/>
    <dgm:cxn modelId="{0661E183-ECB8-47D8-870C-487A2DBD9A19}" type="presParOf" srcId="{6298884D-893D-450A-8FC0-8F7B51585BC6}" destId="{4A2FDD2C-DBE5-4962-8C98-199818100862}" srcOrd="0" destOrd="0" presId="urn:microsoft.com/office/officeart/2005/8/layout/hierarchy1"/>
    <dgm:cxn modelId="{5E2CEC52-DE78-4FCF-8644-5322BB396766}" type="presParOf" srcId="{4A2FDD2C-DBE5-4962-8C98-199818100862}" destId="{D373998D-F7FD-4561-94AB-6DA6D6182DAF}" srcOrd="0" destOrd="0" presId="urn:microsoft.com/office/officeart/2005/8/layout/hierarchy1"/>
    <dgm:cxn modelId="{0FEC22C9-BB92-4750-9C2A-CA9F2988EB4C}" type="presParOf" srcId="{4A2FDD2C-DBE5-4962-8C98-199818100862}" destId="{C07C101D-4754-4881-9ED8-F2D768376FCE}" srcOrd="1" destOrd="0" presId="urn:microsoft.com/office/officeart/2005/8/layout/hierarchy1"/>
    <dgm:cxn modelId="{A78EA081-6B8B-49BC-80FF-FFB79035EC12}" type="presParOf" srcId="{6298884D-893D-450A-8FC0-8F7B51585BC6}" destId="{2F70675C-2503-417D-9C5D-E4EFC715F329}"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85000"/>
                <a:shade val="98000"/>
                <a:satMod val="110000"/>
                <a:lumMod val="103000"/>
              </a:schemeClr>
            </a:gs>
            <a:gs pos="50000">
              <a:schemeClr val="dk2">
                <a:hueOff val="0"/>
                <a:satOff val="0"/>
                <a:lumOff val="0"/>
                <a:alphaOff val="0"/>
                <a:shade val="85000"/>
                <a:satMod val="105000"/>
                <a:lumMod val="100000"/>
              </a:schemeClr>
            </a:gs>
            <a:gs pos="100000">
              <a:schemeClr val="dk2">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85000"/>
                <a:shade val="98000"/>
                <a:satMod val="110000"/>
                <a:lumMod val="103000"/>
              </a:schemeClr>
            </a:gs>
            <a:gs pos="50000">
              <a:schemeClr val="dk2">
                <a:tint val="60000"/>
                <a:hueOff val="0"/>
                <a:satOff val="0"/>
                <a:lumOff val="0"/>
                <a:alphaOff val="0"/>
                <a:shade val="85000"/>
                <a:satMod val="105000"/>
                <a:lumMod val="100000"/>
              </a:schemeClr>
            </a:gs>
            <a:gs pos="100000">
              <a:schemeClr val="dk2">
                <a:tint val="60000"/>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85000"/>
                <a:shade val="98000"/>
                <a:satMod val="110000"/>
                <a:lumMod val="103000"/>
              </a:schemeClr>
            </a:gs>
            <a:gs pos="50000">
              <a:schemeClr val="dk2">
                <a:hueOff val="0"/>
                <a:satOff val="0"/>
                <a:lumOff val="0"/>
                <a:alphaOff val="0"/>
                <a:shade val="85000"/>
                <a:satMod val="105000"/>
                <a:lumMod val="100000"/>
              </a:schemeClr>
            </a:gs>
            <a:gs pos="100000">
              <a:schemeClr val="dk2">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85000"/>
                <a:shade val="98000"/>
                <a:satMod val="110000"/>
                <a:lumMod val="103000"/>
              </a:schemeClr>
            </a:gs>
            <a:gs pos="50000">
              <a:schemeClr val="dk2">
                <a:tint val="60000"/>
                <a:hueOff val="0"/>
                <a:satOff val="0"/>
                <a:lumOff val="0"/>
                <a:alphaOff val="0"/>
                <a:shade val="85000"/>
                <a:satMod val="105000"/>
                <a:lumMod val="100000"/>
              </a:schemeClr>
            </a:gs>
            <a:gs pos="100000">
              <a:schemeClr val="dk2">
                <a:tint val="60000"/>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85000"/>
                <a:shade val="98000"/>
                <a:satMod val="110000"/>
                <a:lumMod val="103000"/>
              </a:schemeClr>
            </a:gs>
            <a:gs pos="50000">
              <a:schemeClr val="dk2">
                <a:hueOff val="0"/>
                <a:satOff val="0"/>
                <a:lumOff val="0"/>
                <a:alphaOff val="0"/>
                <a:shade val="85000"/>
                <a:satMod val="105000"/>
                <a:lumMod val="100000"/>
              </a:schemeClr>
            </a:gs>
            <a:gs pos="100000">
              <a:schemeClr val="dk2">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85000"/>
                <a:shade val="98000"/>
                <a:satMod val="110000"/>
                <a:lumMod val="103000"/>
              </a:schemeClr>
            </a:gs>
            <a:gs pos="50000">
              <a:schemeClr val="dk2">
                <a:tint val="60000"/>
                <a:hueOff val="0"/>
                <a:satOff val="0"/>
                <a:lumOff val="0"/>
                <a:alphaOff val="0"/>
                <a:shade val="85000"/>
                <a:satMod val="105000"/>
                <a:lumMod val="100000"/>
              </a:schemeClr>
            </a:gs>
            <a:gs pos="100000">
              <a:schemeClr val="dk2">
                <a:tint val="60000"/>
                <a:hueOff val="0"/>
                <a:satOff val="0"/>
                <a:lumOff val="0"/>
                <a:alphaOff val="0"/>
                <a:shade val="60000"/>
                <a:satMod val="120000"/>
                <a:lumMod val="100000"/>
              </a:schemeClr>
            </a:gs>
          </a:gsLst>
          <a:lin ang="5400000" scaled="0"/>
        </a:gradFill>
        <a:ln>
          <a:no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88900" dist="2794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Cloud Sprawl -&gt; </a:t>
          </a:r>
          <a:r>
            <a:rPr lang="en-US" sz="1500" kern="1200" dirty="0">
              <a:solidFill>
                <a:schemeClr val="bg1"/>
              </a:solidFill>
            </a:rPr>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solidFill>
                <a:schemeClr val="bg1"/>
              </a:solidFill>
            </a:rPr>
            <a:t>at Scale</a:t>
          </a:r>
          <a:endParaRPr lang="en-US" sz="1500" b="1" kern="1200" dirty="0">
            <a:solidFill>
              <a:schemeClr val="bg1"/>
            </a:solidFill>
          </a:endParaRPr>
        </a:p>
      </dsp:txBody>
      <dsp:txXfrm>
        <a:off x="9269886" y="1654119"/>
        <a:ext cx="2109659" cy="21096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4FB25A-ABE9-4FD0-9315-C687680E0929}">
      <dsp:nvSpPr>
        <dsp:cNvPr id="0" name=""/>
        <dsp:cNvSpPr/>
      </dsp:nvSpPr>
      <dsp:spPr>
        <a:xfrm>
          <a:off x="5258458" y="144298"/>
          <a:ext cx="2246060" cy="476219"/>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r>
            <a:rPr lang="en-US" sz="2000" kern="1200" dirty="0"/>
            <a:t>Enrollment</a:t>
          </a:r>
        </a:p>
      </dsp:txBody>
      <dsp:txXfrm>
        <a:off x="5272406" y="158246"/>
        <a:ext cx="2218164" cy="448323"/>
      </dsp:txXfrm>
    </dsp:sp>
    <dsp:sp modelId="{2CAF34B9-4E69-4FF7-B3A9-073DDDF1B5D7}">
      <dsp:nvSpPr>
        <dsp:cNvPr id="0" name=""/>
        <dsp:cNvSpPr/>
      </dsp:nvSpPr>
      <dsp:spPr>
        <a:xfrm>
          <a:off x="5367732" y="620517"/>
          <a:ext cx="1013756" cy="658969"/>
        </a:xfrm>
        <a:custGeom>
          <a:avLst/>
          <a:gdLst/>
          <a:ahLst/>
          <a:cxnLst/>
          <a:rect l="0" t="0" r="0" b="0"/>
          <a:pathLst>
            <a:path>
              <a:moveTo>
                <a:pt x="1013756" y="0"/>
              </a:moveTo>
              <a:lnTo>
                <a:pt x="1013756" y="329484"/>
              </a:lnTo>
              <a:lnTo>
                <a:pt x="0" y="329484"/>
              </a:lnTo>
              <a:lnTo>
                <a:pt x="0" y="658969"/>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6EE5EC-D5F5-4F8C-BD8C-FD1FC1DEE422}">
      <dsp:nvSpPr>
        <dsp:cNvPr id="0" name=""/>
        <dsp:cNvSpPr/>
      </dsp:nvSpPr>
      <dsp:spPr>
        <a:xfrm>
          <a:off x="4472857" y="1279487"/>
          <a:ext cx="1789749" cy="578662"/>
        </a:xfrm>
        <a:prstGeom prst="roundRect">
          <a:avLst>
            <a:gd name="adj" fmla="val 10000"/>
          </a:avLst>
        </a:prstGeom>
        <a:solidFill>
          <a:srgbClr val="98D853"/>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t>Department A</a:t>
          </a:r>
        </a:p>
      </dsp:txBody>
      <dsp:txXfrm>
        <a:off x="4489805" y="1296435"/>
        <a:ext cx="1755853" cy="544766"/>
      </dsp:txXfrm>
    </dsp:sp>
    <dsp:sp modelId="{88DC53D4-C5CC-467D-A3BE-9817D4F99DE8}">
      <dsp:nvSpPr>
        <dsp:cNvPr id="0" name=""/>
        <dsp:cNvSpPr/>
      </dsp:nvSpPr>
      <dsp:spPr>
        <a:xfrm>
          <a:off x="4380859" y="1858149"/>
          <a:ext cx="986872" cy="488182"/>
        </a:xfrm>
        <a:custGeom>
          <a:avLst/>
          <a:gdLst/>
          <a:ahLst/>
          <a:cxnLst/>
          <a:rect l="0" t="0" r="0" b="0"/>
          <a:pathLst>
            <a:path>
              <a:moveTo>
                <a:pt x="986872" y="0"/>
              </a:moveTo>
              <a:lnTo>
                <a:pt x="986872" y="244091"/>
              </a:lnTo>
              <a:lnTo>
                <a:pt x="0" y="244091"/>
              </a:lnTo>
              <a:lnTo>
                <a:pt x="0" y="488182"/>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77EB5C-5653-4243-BB19-0A4C365572C0}">
      <dsp:nvSpPr>
        <dsp:cNvPr id="0" name=""/>
        <dsp:cNvSpPr/>
      </dsp:nvSpPr>
      <dsp:spPr>
        <a:xfrm>
          <a:off x="3582815" y="2346331"/>
          <a:ext cx="1596087" cy="678006"/>
        </a:xfrm>
        <a:prstGeom prst="roundRect">
          <a:avLst>
            <a:gd name="adj" fmla="val 10000"/>
          </a:avLst>
        </a:prstGeom>
        <a:solidFill>
          <a:schemeClr val="accent3">
            <a:lumMod val="20000"/>
            <a:lumOff val="8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solidFill>
                <a:schemeClr val="accent4"/>
              </a:solidFill>
            </a:rPr>
            <a:t>Account A</a:t>
          </a:r>
        </a:p>
      </dsp:txBody>
      <dsp:txXfrm>
        <a:off x="3602673" y="2366189"/>
        <a:ext cx="1556371" cy="638290"/>
      </dsp:txXfrm>
    </dsp:sp>
    <dsp:sp modelId="{6E33D6F8-6B01-402E-A607-B1F9EF7CE68C}">
      <dsp:nvSpPr>
        <dsp:cNvPr id="0" name=""/>
        <dsp:cNvSpPr/>
      </dsp:nvSpPr>
      <dsp:spPr>
        <a:xfrm>
          <a:off x="3583482" y="3024338"/>
          <a:ext cx="797377" cy="474117"/>
        </a:xfrm>
        <a:custGeom>
          <a:avLst/>
          <a:gdLst/>
          <a:ahLst/>
          <a:cxnLst/>
          <a:rect l="0" t="0" r="0" b="0"/>
          <a:pathLst>
            <a:path>
              <a:moveTo>
                <a:pt x="797377" y="0"/>
              </a:moveTo>
              <a:lnTo>
                <a:pt x="797377" y="237058"/>
              </a:lnTo>
              <a:lnTo>
                <a:pt x="0" y="237058"/>
              </a:lnTo>
              <a:lnTo>
                <a:pt x="0" y="474117"/>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C235E4-1037-4CD5-B6E1-6F7A34FF24E8}">
      <dsp:nvSpPr>
        <dsp:cNvPr id="0" name=""/>
        <dsp:cNvSpPr/>
      </dsp:nvSpPr>
      <dsp:spPr>
        <a:xfrm>
          <a:off x="2966993" y="3498456"/>
          <a:ext cx="1232977" cy="560333"/>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Subscription 1</a:t>
          </a:r>
        </a:p>
      </dsp:txBody>
      <dsp:txXfrm>
        <a:off x="2983405" y="3514868"/>
        <a:ext cx="1200153" cy="527509"/>
      </dsp:txXfrm>
    </dsp:sp>
    <dsp:sp modelId="{CF53A3D6-A072-42CB-98DD-C00C8A40D016}">
      <dsp:nvSpPr>
        <dsp:cNvPr id="0" name=""/>
        <dsp:cNvSpPr/>
      </dsp:nvSpPr>
      <dsp:spPr>
        <a:xfrm>
          <a:off x="4380859" y="3024338"/>
          <a:ext cx="875533" cy="477095"/>
        </a:xfrm>
        <a:custGeom>
          <a:avLst/>
          <a:gdLst/>
          <a:ahLst/>
          <a:cxnLst/>
          <a:rect l="0" t="0" r="0" b="0"/>
          <a:pathLst>
            <a:path>
              <a:moveTo>
                <a:pt x="0" y="0"/>
              </a:moveTo>
              <a:lnTo>
                <a:pt x="0" y="238547"/>
              </a:lnTo>
              <a:lnTo>
                <a:pt x="875533" y="238547"/>
              </a:lnTo>
              <a:lnTo>
                <a:pt x="875533" y="477095"/>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C026456-0018-498C-90B8-4E6AD741A2D5}">
      <dsp:nvSpPr>
        <dsp:cNvPr id="0" name=""/>
        <dsp:cNvSpPr/>
      </dsp:nvSpPr>
      <dsp:spPr>
        <a:xfrm>
          <a:off x="4645741" y="3501434"/>
          <a:ext cx="1221302" cy="560333"/>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Subscription 2</a:t>
          </a:r>
        </a:p>
      </dsp:txBody>
      <dsp:txXfrm>
        <a:off x="4662153" y="3517846"/>
        <a:ext cx="1188478" cy="527509"/>
      </dsp:txXfrm>
    </dsp:sp>
    <dsp:sp modelId="{4E39B038-EF17-4D39-820C-7F9B62919E81}">
      <dsp:nvSpPr>
        <dsp:cNvPr id="0" name=""/>
        <dsp:cNvSpPr/>
      </dsp:nvSpPr>
      <dsp:spPr>
        <a:xfrm>
          <a:off x="4125066" y="4061768"/>
          <a:ext cx="1131326" cy="484122"/>
        </a:xfrm>
        <a:custGeom>
          <a:avLst/>
          <a:gdLst/>
          <a:ahLst/>
          <a:cxnLst/>
          <a:rect l="0" t="0" r="0" b="0"/>
          <a:pathLst>
            <a:path>
              <a:moveTo>
                <a:pt x="1131326" y="0"/>
              </a:moveTo>
              <a:lnTo>
                <a:pt x="1131326" y="242061"/>
              </a:lnTo>
              <a:lnTo>
                <a:pt x="0" y="242061"/>
              </a:lnTo>
              <a:lnTo>
                <a:pt x="0" y="484122"/>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0A53F0B-9338-43C7-A099-40FB4DC27768}">
      <dsp:nvSpPr>
        <dsp:cNvPr id="0" name=""/>
        <dsp:cNvSpPr/>
      </dsp:nvSpPr>
      <dsp:spPr>
        <a:xfrm>
          <a:off x="3064265" y="4545890"/>
          <a:ext cx="2121600" cy="495148"/>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t>Resource Group 1</a:t>
          </a:r>
        </a:p>
      </dsp:txBody>
      <dsp:txXfrm>
        <a:off x="3078767" y="4560392"/>
        <a:ext cx="2092596" cy="466144"/>
      </dsp:txXfrm>
    </dsp:sp>
    <dsp:sp modelId="{3542E58D-EBB6-4DA5-90D2-7071ACE48ABD}">
      <dsp:nvSpPr>
        <dsp:cNvPr id="0" name=""/>
        <dsp:cNvSpPr/>
      </dsp:nvSpPr>
      <dsp:spPr>
        <a:xfrm>
          <a:off x="5256392" y="4061768"/>
          <a:ext cx="1193962" cy="484122"/>
        </a:xfrm>
        <a:custGeom>
          <a:avLst/>
          <a:gdLst/>
          <a:ahLst/>
          <a:cxnLst/>
          <a:rect l="0" t="0" r="0" b="0"/>
          <a:pathLst>
            <a:path>
              <a:moveTo>
                <a:pt x="0" y="0"/>
              </a:moveTo>
              <a:lnTo>
                <a:pt x="0" y="242061"/>
              </a:lnTo>
              <a:lnTo>
                <a:pt x="1193962" y="242061"/>
              </a:lnTo>
              <a:lnTo>
                <a:pt x="1193962" y="484122"/>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FF1E07-432E-448B-9E00-1ABC19D7F7BC}">
      <dsp:nvSpPr>
        <dsp:cNvPr id="0" name=""/>
        <dsp:cNvSpPr/>
      </dsp:nvSpPr>
      <dsp:spPr>
        <a:xfrm>
          <a:off x="5450496" y="4545890"/>
          <a:ext cx="1999716" cy="474453"/>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t>Resource Group 2</a:t>
          </a:r>
        </a:p>
      </dsp:txBody>
      <dsp:txXfrm>
        <a:off x="5464392" y="4559786"/>
        <a:ext cx="1971924" cy="446661"/>
      </dsp:txXfrm>
    </dsp:sp>
    <dsp:sp modelId="{6457A614-B8DB-4C81-9F25-029D01F23948}">
      <dsp:nvSpPr>
        <dsp:cNvPr id="0" name=""/>
        <dsp:cNvSpPr/>
      </dsp:nvSpPr>
      <dsp:spPr>
        <a:xfrm>
          <a:off x="5367732" y="1858149"/>
          <a:ext cx="1389709" cy="488506"/>
        </a:xfrm>
        <a:custGeom>
          <a:avLst/>
          <a:gdLst/>
          <a:ahLst/>
          <a:cxnLst/>
          <a:rect l="0" t="0" r="0" b="0"/>
          <a:pathLst>
            <a:path>
              <a:moveTo>
                <a:pt x="0" y="0"/>
              </a:moveTo>
              <a:lnTo>
                <a:pt x="0" y="244253"/>
              </a:lnTo>
              <a:lnTo>
                <a:pt x="1389709" y="244253"/>
              </a:lnTo>
              <a:lnTo>
                <a:pt x="1389709" y="48850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E0D3E5-4DDB-463B-A2E6-FD6EE1D4FE12}">
      <dsp:nvSpPr>
        <dsp:cNvPr id="0" name=""/>
        <dsp:cNvSpPr/>
      </dsp:nvSpPr>
      <dsp:spPr>
        <a:xfrm>
          <a:off x="6064507" y="2346656"/>
          <a:ext cx="1385867" cy="678006"/>
        </a:xfrm>
        <a:prstGeom prst="roundRect">
          <a:avLst>
            <a:gd name="adj" fmla="val 10000"/>
          </a:avLst>
        </a:prstGeom>
        <a:solidFill>
          <a:schemeClr val="accent3">
            <a:lumMod val="20000"/>
            <a:lumOff val="8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solidFill>
                <a:schemeClr val="accent4"/>
              </a:solidFill>
            </a:rPr>
            <a:t>Account B</a:t>
          </a:r>
        </a:p>
      </dsp:txBody>
      <dsp:txXfrm>
        <a:off x="6084365" y="2366514"/>
        <a:ext cx="1346151" cy="638290"/>
      </dsp:txXfrm>
    </dsp:sp>
    <dsp:sp modelId="{87B2EC59-9472-4294-9CDF-7C707DF9F8B6}">
      <dsp:nvSpPr>
        <dsp:cNvPr id="0" name=""/>
        <dsp:cNvSpPr/>
      </dsp:nvSpPr>
      <dsp:spPr>
        <a:xfrm>
          <a:off x="6711721" y="3024663"/>
          <a:ext cx="91440" cy="480447"/>
        </a:xfrm>
        <a:custGeom>
          <a:avLst/>
          <a:gdLst/>
          <a:ahLst/>
          <a:cxnLst/>
          <a:rect l="0" t="0" r="0" b="0"/>
          <a:pathLst>
            <a:path>
              <a:moveTo>
                <a:pt x="45720" y="0"/>
              </a:moveTo>
              <a:lnTo>
                <a:pt x="45720" y="480447"/>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87E7810-531E-4A34-BFEB-CD4BA126395B}">
      <dsp:nvSpPr>
        <dsp:cNvPr id="0" name=""/>
        <dsp:cNvSpPr/>
      </dsp:nvSpPr>
      <dsp:spPr>
        <a:xfrm>
          <a:off x="6121026" y="3505110"/>
          <a:ext cx="1272830" cy="560333"/>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Subscription 3</a:t>
          </a:r>
        </a:p>
      </dsp:txBody>
      <dsp:txXfrm>
        <a:off x="6137438" y="3521522"/>
        <a:ext cx="1240006" cy="527509"/>
      </dsp:txXfrm>
    </dsp:sp>
    <dsp:sp modelId="{720BEA72-8562-4296-A4F5-10D5080F8721}">
      <dsp:nvSpPr>
        <dsp:cNvPr id="0" name=""/>
        <dsp:cNvSpPr/>
      </dsp:nvSpPr>
      <dsp:spPr>
        <a:xfrm>
          <a:off x="6381488" y="620517"/>
          <a:ext cx="2167829" cy="1728192"/>
        </a:xfrm>
        <a:custGeom>
          <a:avLst/>
          <a:gdLst/>
          <a:ahLst/>
          <a:cxnLst/>
          <a:rect l="0" t="0" r="0" b="0"/>
          <a:pathLst>
            <a:path>
              <a:moveTo>
                <a:pt x="0" y="0"/>
              </a:moveTo>
              <a:lnTo>
                <a:pt x="0" y="864096"/>
              </a:lnTo>
              <a:lnTo>
                <a:pt x="2167829" y="864096"/>
              </a:lnTo>
              <a:lnTo>
                <a:pt x="2167829" y="1728192"/>
              </a:lnTo>
            </a:path>
          </a:pathLst>
        </a:custGeom>
        <a:noFill/>
        <a:ln w="12700" cap="flat" cmpd="sng" algn="ctr">
          <a:noFill/>
          <a:prstDash val="solid"/>
        </a:ln>
        <a:effectLst/>
      </dsp:spPr>
      <dsp:style>
        <a:lnRef idx="2">
          <a:scrgbClr r="0" g="0" b="0"/>
        </a:lnRef>
        <a:fillRef idx="0">
          <a:scrgbClr r="0" g="0" b="0"/>
        </a:fillRef>
        <a:effectRef idx="0">
          <a:scrgbClr r="0" g="0" b="0"/>
        </a:effectRef>
        <a:fontRef idx="minor"/>
      </dsp:style>
    </dsp:sp>
    <dsp:sp modelId="{81CA7889-0877-443F-BD04-6D89D8C942F6}">
      <dsp:nvSpPr>
        <dsp:cNvPr id="0" name=""/>
        <dsp:cNvSpPr/>
      </dsp:nvSpPr>
      <dsp:spPr>
        <a:xfrm>
          <a:off x="7820385" y="2348710"/>
          <a:ext cx="1457862" cy="678006"/>
        </a:xfrm>
        <a:prstGeom prst="roundRect">
          <a:avLst>
            <a:gd name="adj" fmla="val 10000"/>
          </a:avLst>
        </a:prstGeom>
        <a:solidFill>
          <a:schemeClr val="accent3">
            <a:lumMod val="20000"/>
            <a:lumOff val="8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n-US" sz="1600" kern="1200" dirty="0">
              <a:solidFill>
                <a:schemeClr val="accent4"/>
              </a:solidFill>
            </a:rPr>
            <a:t>Account C</a:t>
          </a:r>
        </a:p>
      </dsp:txBody>
      <dsp:txXfrm>
        <a:off x="7840243" y="2368568"/>
        <a:ext cx="1418146" cy="638290"/>
      </dsp:txXfrm>
    </dsp:sp>
    <dsp:sp modelId="{271149F3-73A6-44F2-B1E5-60C0E0E0B682}">
      <dsp:nvSpPr>
        <dsp:cNvPr id="0" name=""/>
        <dsp:cNvSpPr/>
      </dsp:nvSpPr>
      <dsp:spPr>
        <a:xfrm>
          <a:off x="8459131" y="3026717"/>
          <a:ext cx="91440" cy="485635"/>
        </a:xfrm>
        <a:custGeom>
          <a:avLst/>
          <a:gdLst/>
          <a:ahLst/>
          <a:cxnLst/>
          <a:rect l="0" t="0" r="0" b="0"/>
          <a:pathLst>
            <a:path>
              <a:moveTo>
                <a:pt x="90185" y="0"/>
              </a:moveTo>
              <a:lnTo>
                <a:pt x="90185" y="242817"/>
              </a:lnTo>
              <a:lnTo>
                <a:pt x="45720" y="242817"/>
              </a:lnTo>
              <a:lnTo>
                <a:pt x="45720" y="485635"/>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50AC05-753E-4B9F-9B0B-0E9000D92BC4}">
      <dsp:nvSpPr>
        <dsp:cNvPr id="0" name=""/>
        <dsp:cNvSpPr/>
      </dsp:nvSpPr>
      <dsp:spPr>
        <a:xfrm>
          <a:off x="7870400" y="3512353"/>
          <a:ext cx="1268902" cy="560333"/>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Subscription 5</a:t>
          </a:r>
        </a:p>
      </dsp:txBody>
      <dsp:txXfrm>
        <a:off x="7886812" y="3528765"/>
        <a:ext cx="1236078" cy="5275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55580-0D0E-41B4-AE60-EA7FCA80DA8D}">
      <dsp:nvSpPr>
        <dsp:cNvPr id="0" name=""/>
        <dsp:cNvSpPr/>
      </dsp:nvSpPr>
      <dsp:spPr>
        <a:xfrm>
          <a:off x="0" y="3161"/>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2F8767D-63D4-4EF0-A85E-BBD4344C1A97}">
      <dsp:nvSpPr>
        <dsp:cNvPr id="0" name=""/>
        <dsp:cNvSpPr/>
      </dsp:nvSpPr>
      <dsp:spPr>
        <a:xfrm>
          <a:off x="203673" y="154653"/>
          <a:ext cx="370315" cy="37031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F77B986-12F8-47E7-B2CA-4D0312BABAEC}">
      <dsp:nvSpPr>
        <dsp:cNvPr id="0" name=""/>
        <dsp:cNvSpPr/>
      </dsp:nvSpPr>
      <dsp:spPr>
        <a:xfrm>
          <a:off x="777663" y="3161"/>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dirty="0"/>
            <a:t>10,000 management groups can be supported in a single directory.</a:t>
          </a:r>
          <a:endParaRPr lang="en-US" sz="1700" kern="1200" dirty="0"/>
        </a:p>
      </dsp:txBody>
      <dsp:txXfrm>
        <a:off x="777663" y="3161"/>
        <a:ext cx="8625354" cy="673301"/>
      </dsp:txXfrm>
    </dsp:sp>
    <dsp:sp modelId="{9BA718A0-C909-4020-AC9E-EDBFB800439C}">
      <dsp:nvSpPr>
        <dsp:cNvPr id="0" name=""/>
        <dsp:cNvSpPr/>
      </dsp:nvSpPr>
      <dsp:spPr>
        <a:xfrm>
          <a:off x="0" y="844788"/>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78B4224-08FB-4007-BD4A-70E73539E3CD}">
      <dsp:nvSpPr>
        <dsp:cNvPr id="0" name=""/>
        <dsp:cNvSpPr/>
      </dsp:nvSpPr>
      <dsp:spPr>
        <a:xfrm>
          <a:off x="203673" y="996280"/>
          <a:ext cx="370315" cy="37031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E75DDDA-EDE6-4849-AF61-B9E0EF224890}">
      <dsp:nvSpPr>
        <dsp:cNvPr id="0" name=""/>
        <dsp:cNvSpPr/>
      </dsp:nvSpPr>
      <dsp:spPr>
        <a:xfrm>
          <a:off x="777663" y="844788"/>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a:t>A management group tree can support up to six levels of depth.</a:t>
          </a:r>
          <a:endParaRPr lang="en-US" sz="1700" kern="1200"/>
        </a:p>
      </dsp:txBody>
      <dsp:txXfrm>
        <a:off x="777663" y="844788"/>
        <a:ext cx="8625354" cy="673301"/>
      </dsp:txXfrm>
    </dsp:sp>
    <dsp:sp modelId="{AE7A4A1D-85D5-4C63-96D4-2A569818D23A}">
      <dsp:nvSpPr>
        <dsp:cNvPr id="0" name=""/>
        <dsp:cNvSpPr/>
      </dsp:nvSpPr>
      <dsp:spPr>
        <a:xfrm>
          <a:off x="0" y="1686415"/>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D51CF9-128C-46B5-B1F6-D0D9169AC780}">
      <dsp:nvSpPr>
        <dsp:cNvPr id="0" name=""/>
        <dsp:cNvSpPr/>
      </dsp:nvSpPr>
      <dsp:spPr>
        <a:xfrm>
          <a:off x="203673" y="1837908"/>
          <a:ext cx="370315" cy="37031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2F18355-8F63-4F57-ACA3-55E85757975C}">
      <dsp:nvSpPr>
        <dsp:cNvPr id="0" name=""/>
        <dsp:cNvSpPr/>
      </dsp:nvSpPr>
      <dsp:spPr>
        <a:xfrm>
          <a:off x="777663" y="1686415"/>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a:t>Each management group and subscription can only support one parent.</a:t>
          </a:r>
          <a:endParaRPr lang="en-US" sz="1700" kern="1200"/>
        </a:p>
      </dsp:txBody>
      <dsp:txXfrm>
        <a:off x="777663" y="1686415"/>
        <a:ext cx="8625354" cy="673301"/>
      </dsp:txXfrm>
    </dsp:sp>
    <dsp:sp modelId="{C51D47E4-5154-413E-8197-5CBCD0B44406}">
      <dsp:nvSpPr>
        <dsp:cNvPr id="0" name=""/>
        <dsp:cNvSpPr/>
      </dsp:nvSpPr>
      <dsp:spPr>
        <a:xfrm>
          <a:off x="0" y="2528042"/>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B7517BC-5CD2-4662-BBE3-82A86FFBA9A3}">
      <dsp:nvSpPr>
        <dsp:cNvPr id="0" name=""/>
        <dsp:cNvSpPr/>
      </dsp:nvSpPr>
      <dsp:spPr>
        <a:xfrm>
          <a:off x="203673" y="2679535"/>
          <a:ext cx="370315" cy="37031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1EEAAEC-A5C6-4DE4-9093-D47BB0A26377}">
      <dsp:nvSpPr>
        <dsp:cNvPr id="0" name=""/>
        <dsp:cNvSpPr/>
      </dsp:nvSpPr>
      <dsp:spPr>
        <a:xfrm>
          <a:off x="777663" y="2528042"/>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a:t>Each management group can have multiple children.</a:t>
          </a:r>
          <a:endParaRPr lang="en-US" sz="1700" kern="1200"/>
        </a:p>
      </dsp:txBody>
      <dsp:txXfrm>
        <a:off x="777663" y="2528042"/>
        <a:ext cx="8625354" cy="673301"/>
      </dsp:txXfrm>
    </dsp:sp>
    <dsp:sp modelId="{26C2FA5B-068E-416D-90B5-AC3F3DE92258}">
      <dsp:nvSpPr>
        <dsp:cNvPr id="0" name=""/>
        <dsp:cNvSpPr/>
      </dsp:nvSpPr>
      <dsp:spPr>
        <a:xfrm>
          <a:off x="0" y="3369669"/>
          <a:ext cx="9403018" cy="673301"/>
        </a:xfrm>
        <a:prstGeom prst="roundRect">
          <a:avLst>
            <a:gd name="adj" fmla="val 10000"/>
          </a:avLst>
        </a:prstGeom>
        <a:solidFill>
          <a:schemeClr val="accent1">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755CD7-B51B-4062-8A86-CCCE1523D410}">
      <dsp:nvSpPr>
        <dsp:cNvPr id="0" name=""/>
        <dsp:cNvSpPr/>
      </dsp:nvSpPr>
      <dsp:spPr>
        <a:xfrm>
          <a:off x="203673" y="3521162"/>
          <a:ext cx="370315" cy="370315"/>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D505E6-0D83-41E1-9155-9E2767D57D10}">
      <dsp:nvSpPr>
        <dsp:cNvPr id="0" name=""/>
        <dsp:cNvSpPr/>
      </dsp:nvSpPr>
      <dsp:spPr>
        <a:xfrm>
          <a:off x="777663" y="3369669"/>
          <a:ext cx="8625354" cy="673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258" tIns="71258" rIns="71258" bIns="71258" numCol="1" spcCol="1270" anchor="ctr" anchorCtr="0">
          <a:noAutofit/>
        </a:bodyPr>
        <a:lstStyle/>
        <a:p>
          <a:pPr marL="0" lvl="0" indent="0" algn="l" defTabSz="755650">
            <a:lnSpc>
              <a:spcPct val="100000"/>
            </a:lnSpc>
            <a:spcBef>
              <a:spcPct val="0"/>
            </a:spcBef>
            <a:spcAft>
              <a:spcPct val="35000"/>
            </a:spcAft>
            <a:buNone/>
          </a:pPr>
          <a:r>
            <a:rPr lang="en-US" sz="1700" b="0" i="0" kern="1200"/>
            <a:t>All subscriptions and management groups are contained within a single hierarchy in each directory.</a:t>
          </a:r>
          <a:endParaRPr lang="en-US" sz="1700" kern="1200"/>
        </a:p>
      </dsp:txBody>
      <dsp:txXfrm>
        <a:off x="777663" y="3369669"/>
        <a:ext cx="8625354" cy="6733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54E489-5155-4217-84BA-48DB21DCFBC6}">
      <dsp:nvSpPr>
        <dsp:cNvPr id="0" name=""/>
        <dsp:cNvSpPr/>
      </dsp:nvSpPr>
      <dsp:spPr>
        <a:xfrm>
          <a:off x="295" y="520529"/>
          <a:ext cx="668882" cy="668882"/>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EDCFA8FF-BBC5-4D7E-9D97-F652BB8A7FDF}">
      <dsp:nvSpPr>
        <dsp:cNvPr id="0" name=""/>
        <dsp:cNvSpPr/>
      </dsp:nvSpPr>
      <dsp:spPr>
        <a:xfrm>
          <a:off x="295" y="1341069"/>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kern="1200" dirty="0"/>
            <a:t>The root management group can't be moved</a:t>
          </a:r>
          <a:endParaRPr lang="en-US" sz="1400" kern="1200" dirty="0"/>
        </a:p>
      </dsp:txBody>
      <dsp:txXfrm>
        <a:off x="295" y="1341069"/>
        <a:ext cx="1911093" cy="2392031"/>
      </dsp:txXfrm>
    </dsp:sp>
    <dsp:sp modelId="{A2E32C2C-8E62-4B97-8DA3-2FF5FF8415A4}">
      <dsp:nvSpPr>
        <dsp:cNvPr id="0" name=""/>
        <dsp:cNvSpPr/>
      </dsp:nvSpPr>
      <dsp:spPr>
        <a:xfrm>
          <a:off x="295" y="3803638"/>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 modelId="{8F6540C5-4EAD-480E-82A6-89F144291FF9}">
      <dsp:nvSpPr>
        <dsp:cNvPr id="0" name=""/>
        <dsp:cNvSpPr/>
      </dsp:nvSpPr>
      <dsp:spPr>
        <a:xfrm>
          <a:off x="2245830" y="520529"/>
          <a:ext cx="668882" cy="6688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B173D4A7-95E8-44A0-B3A5-AFC0A9456B19}">
      <dsp:nvSpPr>
        <dsp:cNvPr id="0" name=""/>
        <dsp:cNvSpPr/>
      </dsp:nvSpPr>
      <dsp:spPr>
        <a:xfrm>
          <a:off x="2245830" y="1341069"/>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kern="1200" dirty="0"/>
            <a:t>The </a:t>
          </a:r>
          <a:r>
            <a:rPr lang="en-US" sz="1400" b="0" i="0" u="sng" kern="1200" dirty="0">
              <a:hlinkClick xmlns:r="http://schemas.openxmlformats.org/officeDocument/2006/relationships" r:id="rId5"/>
            </a:rPr>
            <a:t>Directory Administrator needs to elevate themselves</a:t>
          </a:r>
          <a:r>
            <a:rPr lang="en-US" sz="1400" b="0" i="0" kern="1200" dirty="0"/>
            <a:t> to be the owner of this root group initially. Once the administrator is the owner of the group, they can assign any RBAC role to other directory users or groups to manage the hierarchy. </a:t>
          </a:r>
          <a:endParaRPr lang="en-US" sz="1400" kern="1200" dirty="0"/>
        </a:p>
      </dsp:txBody>
      <dsp:txXfrm>
        <a:off x="2245830" y="1341069"/>
        <a:ext cx="1911093" cy="2392031"/>
      </dsp:txXfrm>
    </dsp:sp>
    <dsp:sp modelId="{BF989899-BC78-45B8-8607-36C2D8B92506}">
      <dsp:nvSpPr>
        <dsp:cNvPr id="0" name=""/>
        <dsp:cNvSpPr/>
      </dsp:nvSpPr>
      <dsp:spPr>
        <a:xfrm>
          <a:off x="2245830" y="3803638"/>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 modelId="{D08C3E0A-A6BB-4217-A337-9B25EC01281E}">
      <dsp:nvSpPr>
        <dsp:cNvPr id="0" name=""/>
        <dsp:cNvSpPr/>
      </dsp:nvSpPr>
      <dsp:spPr>
        <a:xfrm>
          <a:off x="4491365" y="520529"/>
          <a:ext cx="668882" cy="668882"/>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1FBD562C-4B0A-4DED-98FA-8D0910F88C72}">
      <dsp:nvSpPr>
        <dsp:cNvPr id="0" name=""/>
        <dsp:cNvSpPr/>
      </dsp:nvSpPr>
      <dsp:spPr>
        <a:xfrm>
          <a:off x="4490754" y="1402544"/>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u="none" kern="1200" dirty="0"/>
            <a:t>All subscriptions and management groups fold up to the one root management group within the directory.  </a:t>
          </a:r>
        </a:p>
        <a:p>
          <a:pPr marL="0" lvl="0" indent="0" algn="l" defTabSz="622300">
            <a:lnSpc>
              <a:spcPct val="100000"/>
            </a:lnSpc>
            <a:spcBef>
              <a:spcPct val="0"/>
            </a:spcBef>
            <a:spcAft>
              <a:spcPct val="35000"/>
            </a:spcAft>
            <a:buNone/>
            <a:defRPr b="1"/>
          </a:pPr>
          <a:r>
            <a:rPr lang="en-US" sz="1400" b="0" i="0" kern="1200" dirty="0"/>
            <a:t>New subscriptions are automatically defaulted to the root management group when created.</a:t>
          </a:r>
          <a:endParaRPr lang="en-US" sz="1400" u="none" kern="1200" dirty="0"/>
        </a:p>
      </dsp:txBody>
      <dsp:txXfrm>
        <a:off x="4490754" y="1402544"/>
        <a:ext cx="1911093" cy="2392031"/>
      </dsp:txXfrm>
    </dsp:sp>
    <dsp:sp modelId="{6F7928F4-CC11-482D-9BB9-C558F58B653E}">
      <dsp:nvSpPr>
        <dsp:cNvPr id="0" name=""/>
        <dsp:cNvSpPr/>
      </dsp:nvSpPr>
      <dsp:spPr>
        <a:xfrm>
          <a:off x="4490754" y="3339073"/>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 modelId="{AEB965A8-BFCC-4768-A1B2-A42384917B7A}">
      <dsp:nvSpPr>
        <dsp:cNvPr id="0" name=""/>
        <dsp:cNvSpPr/>
      </dsp:nvSpPr>
      <dsp:spPr>
        <a:xfrm>
          <a:off x="6736900" y="520529"/>
          <a:ext cx="668882" cy="668882"/>
        </a:xfrm>
        <a:prstGeom prst="rect">
          <a:avLst/>
        </a:prstGeom>
        <a:blipFill>
          <a:blip xmlns:r="http://schemas.openxmlformats.org/officeDocument/2006/relationships" r:embed="rId8">
            <a:extLst>
              <a:ext uri="{96DAC541-7B7A-43D3-8B79-37D633B846F1}">
                <asvg:svgBlip xmlns:asvg="http://schemas.microsoft.com/office/drawing/2016/SVG/main" r:embed="rId9"/>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37BDE941-0C96-4C51-8D5D-CBF7CB9BBCDF}">
      <dsp:nvSpPr>
        <dsp:cNvPr id="0" name=""/>
        <dsp:cNvSpPr/>
      </dsp:nvSpPr>
      <dsp:spPr>
        <a:xfrm>
          <a:off x="6736900" y="1341069"/>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kern="1200"/>
            <a:t>All Azure customers can see the root management group, but not all customers have access to manage that root management group.</a:t>
          </a:r>
          <a:endParaRPr lang="en-US" sz="1400" kern="1200"/>
        </a:p>
      </dsp:txBody>
      <dsp:txXfrm>
        <a:off x="6736900" y="1341069"/>
        <a:ext cx="1911093" cy="2392031"/>
      </dsp:txXfrm>
    </dsp:sp>
    <dsp:sp modelId="{7502C390-293D-41FF-9443-A84BA36FA76B}">
      <dsp:nvSpPr>
        <dsp:cNvPr id="0" name=""/>
        <dsp:cNvSpPr/>
      </dsp:nvSpPr>
      <dsp:spPr>
        <a:xfrm>
          <a:off x="6736900" y="3803638"/>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 modelId="{7C280C2C-E57F-4981-A890-34F459067BDA}">
      <dsp:nvSpPr>
        <dsp:cNvPr id="0" name=""/>
        <dsp:cNvSpPr/>
      </dsp:nvSpPr>
      <dsp:spPr>
        <a:xfrm>
          <a:off x="8982435" y="520529"/>
          <a:ext cx="668882" cy="668882"/>
        </a:xfrm>
        <a:prstGeom prst="rect">
          <a:avLst/>
        </a:prstGeom>
        <a:blipFill>
          <a:blip xmlns:r="http://schemas.openxmlformats.org/officeDocument/2006/relationships" r:embed="rId10">
            <a:extLst>
              <a:ext uri="{96DAC541-7B7A-43D3-8B79-37D633B846F1}">
                <asvg:svgBlip xmlns:asvg="http://schemas.microsoft.com/office/drawing/2016/SVG/main" r:embed="rId11"/>
              </a:ext>
            </a:extLst>
          </a:blip>
          <a:srcRect/>
          <a:stretch>
            <a:fillRect t="-3000" b="-3000"/>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F4019F2B-7F86-4A52-AAB2-526812728D18}">
      <dsp:nvSpPr>
        <dsp:cNvPr id="0" name=""/>
        <dsp:cNvSpPr/>
      </dsp:nvSpPr>
      <dsp:spPr>
        <a:xfrm>
          <a:off x="8982435" y="1341069"/>
          <a:ext cx="1911093" cy="2392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0" i="0" kern="1200"/>
            <a:t>No one is given default access to the root management group. </a:t>
          </a:r>
          <a:endParaRPr lang="en-US" sz="1400" kern="1200"/>
        </a:p>
      </dsp:txBody>
      <dsp:txXfrm>
        <a:off x="8982435" y="1341069"/>
        <a:ext cx="1911093" cy="2392031"/>
      </dsp:txXfrm>
    </dsp:sp>
    <dsp:sp modelId="{526F55A0-51DB-4552-A0CA-7F54F82B2F3D}">
      <dsp:nvSpPr>
        <dsp:cNvPr id="0" name=""/>
        <dsp:cNvSpPr/>
      </dsp:nvSpPr>
      <dsp:spPr>
        <a:xfrm>
          <a:off x="8982435" y="3803638"/>
          <a:ext cx="1911093" cy="243796"/>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4B0864-D226-4D87-BADD-EEEDDA925F11}">
      <dsp:nvSpPr>
        <dsp:cNvPr id="0" name=""/>
        <dsp:cNvSpPr/>
      </dsp:nvSpPr>
      <dsp:spPr>
        <a:xfrm>
          <a:off x="0" y="495"/>
          <a:ext cx="9403018" cy="1158533"/>
        </a:xfrm>
        <a:prstGeom prst="roundRect">
          <a:avLst>
            <a:gd name="adj" fmla="val 10000"/>
          </a:avLst>
        </a:prstGeom>
        <a:solidFill>
          <a:schemeClr val="accent2">
            <a:hueOff val="0"/>
            <a:satOff val="0"/>
            <a:lumOff val="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F766EFE3-415D-4304-9E1F-B24601766BE6}">
      <dsp:nvSpPr>
        <dsp:cNvPr id="0" name=""/>
        <dsp:cNvSpPr/>
      </dsp:nvSpPr>
      <dsp:spPr>
        <a:xfrm>
          <a:off x="350456" y="261165"/>
          <a:ext cx="637193" cy="63719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33287DC3-AE6F-40F4-BE66-D90FFC5738DF}">
      <dsp:nvSpPr>
        <dsp:cNvPr id="0" name=""/>
        <dsp:cNvSpPr/>
      </dsp:nvSpPr>
      <dsp:spPr>
        <a:xfrm>
          <a:off x="1338106" y="495"/>
          <a:ext cx="8064911" cy="1158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2" tIns="122612" rIns="122612" bIns="122612" numCol="1" spcCol="1270" anchor="ctr" anchorCtr="0">
          <a:noAutofit/>
        </a:bodyPr>
        <a:lstStyle/>
        <a:p>
          <a:pPr marL="0" lvl="0" indent="0" algn="l" defTabSz="844550">
            <a:lnSpc>
              <a:spcPct val="100000"/>
            </a:lnSpc>
            <a:spcBef>
              <a:spcPct val="0"/>
            </a:spcBef>
            <a:spcAft>
              <a:spcPct val="35000"/>
            </a:spcAft>
            <a:buNone/>
          </a:pPr>
          <a:r>
            <a:rPr lang="en-US" sz="1900" kern="1200"/>
            <a:t>Policies enforce different rules and effects over your resources, so those resources stay compliant with your corporate standards and service level agreements</a:t>
          </a:r>
        </a:p>
      </dsp:txBody>
      <dsp:txXfrm>
        <a:off x="1338106" y="495"/>
        <a:ext cx="8064911" cy="1158533"/>
      </dsp:txXfrm>
    </dsp:sp>
    <dsp:sp modelId="{1760CB8F-A7B6-425C-87C8-37F4625A5713}">
      <dsp:nvSpPr>
        <dsp:cNvPr id="0" name=""/>
        <dsp:cNvSpPr/>
      </dsp:nvSpPr>
      <dsp:spPr>
        <a:xfrm>
          <a:off x="0" y="1448662"/>
          <a:ext cx="9403018" cy="1158533"/>
        </a:xfrm>
        <a:prstGeom prst="roundRect">
          <a:avLst>
            <a:gd name="adj" fmla="val 10000"/>
          </a:avLst>
        </a:prstGeom>
        <a:solidFill>
          <a:schemeClr val="accent2">
            <a:hueOff val="0"/>
            <a:satOff val="0"/>
            <a:lumOff val="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07D55F2D-302F-4098-8089-F5A21C85CA99}">
      <dsp:nvSpPr>
        <dsp:cNvPr id="0" name=""/>
        <dsp:cNvSpPr/>
      </dsp:nvSpPr>
      <dsp:spPr>
        <a:xfrm>
          <a:off x="350456" y="1709332"/>
          <a:ext cx="637193" cy="63719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EB5BB73F-7072-4BA6-BD00-F8302DC6807F}">
      <dsp:nvSpPr>
        <dsp:cNvPr id="0" name=""/>
        <dsp:cNvSpPr/>
      </dsp:nvSpPr>
      <dsp:spPr>
        <a:xfrm>
          <a:off x="1338106" y="1448662"/>
          <a:ext cx="8064911" cy="1158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2" tIns="122612" rIns="122612" bIns="122612" numCol="1" spcCol="1270" anchor="ctr" anchorCtr="0">
          <a:noAutofit/>
        </a:bodyPr>
        <a:lstStyle/>
        <a:p>
          <a:pPr marL="0" lvl="0" indent="0" algn="l" defTabSz="844550">
            <a:lnSpc>
              <a:spcPct val="100000"/>
            </a:lnSpc>
            <a:spcBef>
              <a:spcPct val="0"/>
            </a:spcBef>
            <a:spcAft>
              <a:spcPct val="35000"/>
            </a:spcAft>
            <a:buNone/>
          </a:pPr>
          <a:r>
            <a:rPr lang="en-US" sz="1900" kern="1200"/>
            <a:t>Policies are DEFINED (e.g. what VM SKUs are allowed) and then ASSIGNED to a scope (e.g. a subscription)</a:t>
          </a:r>
        </a:p>
      </dsp:txBody>
      <dsp:txXfrm>
        <a:off x="1338106" y="1448662"/>
        <a:ext cx="8064911" cy="1158533"/>
      </dsp:txXfrm>
    </dsp:sp>
    <dsp:sp modelId="{BA7077DD-22EE-4AC8-8E95-035DBE264E6C}">
      <dsp:nvSpPr>
        <dsp:cNvPr id="0" name=""/>
        <dsp:cNvSpPr/>
      </dsp:nvSpPr>
      <dsp:spPr>
        <a:xfrm>
          <a:off x="0" y="2896829"/>
          <a:ext cx="9403018" cy="1158533"/>
        </a:xfrm>
        <a:prstGeom prst="roundRect">
          <a:avLst>
            <a:gd name="adj" fmla="val 10000"/>
          </a:avLst>
        </a:prstGeom>
        <a:solidFill>
          <a:schemeClr val="accent2">
            <a:hueOff val="0"/>
            <a:satOff val="0"/>
            <a:lumOff val="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5CD601FA-A29E-486E-B057-AD261004DBB6}">
      <dsp:nvSpPr>
        <dsp:cNvPr id="0" name=""/>
        <dsp:cNvSpPr/>
      </dsp:nvSpPr>
      <dsp:spPr>
        <a:xfrm>
          <a:off x="350456" y="3157500"/>
          <a:ext cx="637193" cy="63719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sp>
    <dsp:sp modelId="{83108701-8C5D-4588-AAAE-6976B344ED3A}">
      <dsp:nvSpPr>
        <dsp:cNvPr id="0" name=""/>
        <dsp:cNvSpPr/>
      </dsp:nvSpPr>
      <dsp:spPr>
        <a:xfrm>
          <a:off x="1338106" y="2896829"/>
          <a:ext cx="8064911" cy="1158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2" tIns="122612" rIns="122612" bIns="122612" numCol="1" spcCol="1270" anchor="ctr" anchorCtr="0">
          <a:noAutofit/>
        </a:bodyPr>
        <a:lstStyle/>
        <a:p>
          <a:pPr marL="0" lvl="0" indent="0" algn="l" defTabSz="844550">
            <a:lnSpc>
              <a:spcPct val="100000"/>
            </a:lnSpc>
            <a:spcBef>
              <a:spcPct val="0"/>
            </a:spcBef>
            <a:spcAft>
              <a:spcPct val="35000"/>
            </a:spcAft>
            <a:buNone/>
          </a:pPr>
          <a:r>
            <a:rPr lang="en-US" sz="1900" kern="1200"/>
            <a:t>Initiatives are a collection of policy definitions designed to achieve a single goal</a:t>
          </a:r>
        </a:p>
      </dsp:txBody>
      <dsp:txXfrm>
        <a:off x="1338106" y="2896829"/>
        <a:ext cx="8064911" cy="11585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E50AB8-6586-4F19-AFEC-00217AD49B7D}">
      <dsp:nvSpPr>
        <dsp:cNvPr id="0" name=""/>
        <dsp:cNvSpPr/>
      </dsp:nvSpPr>
      <dsp:spPr>
        <a:xfrm>
          <a:off x="0" y="0"/>
          <a:ext cx="6330418" cy="763090"/>
        </a:xfrm>
        <a:prstGeom prst="roundRect">
          <a:avLst>
            <a:gd name="adj" fmla="val 10000"/>
          </a:avLst>
        </a:prstGeom>
        <a:gradFill rotWithShape="0">
          <a:gsLst>
            <a:gs pos="0">
              <a:schemeClr val="accent4">
                <a:hueOff val="0"/>
                <a:satOff val="0"/>
                <a:lumOff val="0"/>
                <a:alphaOff val="0"/>
                <a:tint val="85000"/>
                <a:shade val="98000"/>
                <a:satMod val="110000"/>
                <a:lumMod val="103000"/>
              </a:schemeClr>
            </a:gs>
            <a:gs pos="50000">
              <a:schemeClr val="accent4">
                <a:hueOff val="0"/>
                <a:satOff val="0"/>
                <a:lumOff val="0"/>
                <a:alphaOff val="0"/>
                <a:shade val="85000"/>
                <a:satMod val="105000"/>
                <a:lumMod val="100000"/>
              </a:schemeClr>
            </a:gs>
            <a:gs pos="100000">
              <a:schemeClr val="accent4">
                <a:hueOff val="0"/>
                <a:satOff val="0"/>
                <a:lumOff val="0"/>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dirty="0"/>
            <a:t>Append</a:t>
          </a:r>
          <a:endParaRPr lang="en-US" sz="3500" kern="1200" dirty="0"/>
        </a:p>
      </dsp:txBody>
      <dsp:txXfrm>
        <a:off x="1342392" y="0"/>
        <a:ext cx="4988025" cy="763090"/>
      </dsp:txXfrm>
    </dsp:sp>
    <dsp:sp modelId="{5A3CB90B-A2A8-49C2-A2C7-FAA94D24AACF}">
      <dsp:nvSpPr>
        <dsp:cNvPr id="0" name=""/>
        <dsp:cNvSpPr/>
      </dsp:nvSpPr>
      <dsp:spPr>
        <a:xfrm>
          <a:off x="76309" y="76309"/>
          <a:ext cx="1266083" cy="610472"/>
        </a:xfrm>
        <a:prstGeom prst="downArrow">
          <a:avLst/>
        </a:prstGeom>
        <a:solidFill>
          <a:schemeClr val="accent4">
            <a:tint val="50000"/>
            <a:hueOff val="0"/>
            <a:satOff val="0"/>
            <a:lumOff val="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45086022-4FA1-4DA0-8557-9289FE8140BA}">
      <dsp:nvSpPr>
        <dsp:cNvPr id="0" name=""/>
        <dsp:cNvSpPr/>
      </dsp:nvSpPr>
      <dsp:spPr>
        <a:xfrm>
          <a:off x="0" y="839399"/>
          <a:ext cx="6330418" cy="763090"/>
        </a:xfrm>
        <a:prstGeom prst="roundRect">
          <a:avLst>
            <a:gd name="adj" fmla="val 10000"/>
          </a:avLst>
        </a:prstGeom>
        <a:gradFill rotWithShape="0">
          <a:gsLst>
            <a:gs pos="0">
              <a:schemeClr val="accent4">
                <a:hueOff val="-186152"/>
                <a:satOff val="-8728"/>
                <a:lumOff val="2255"/>
                <a:alphaOff val="0"/>
                <a:tint val="85000"/>
                <a:shade val="98000"/>
                <a:satMod val="110000"/>
                <a:lumMod val="103000"/>
              </a:schemeClr>
            </a:gs>
            <a:gs pos="50000">
              <a:schemeClr val="accent4">
                <a:hueOff val="-186152"/>
                <a:satOff val="-8728"/>
                <a:lumOff val="2255"/>
                <a:alphaOff val="0"/>
                <a:shade val="85000"/>
                <a:satMod val="105000"/>
                <a:lumMod val="100000"/>
              </a:schemeClr>
            </a:gs>
            <a:gs pos="100000">
              <a:schemeClr val="accent4">
                <a:hueOff val="-186152"/>
                <a:satOff val="-8728"/>
                <a:lumOff val="2255"/>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dirty="0"/>
            <a:t>Deny</a:t>
          </a:r>
          <a:endParaRPr lang="en-US" sz="3500" kern="1200" dirty="0"/>
        </a:p>
      </dsp:txBody>
      <dsp:txXfrm>
        <a:off x="1342392" y="839399"/>
        <a:ext cx="4988025" cy="763090"/>
      </dsp:txXfrm>
    </dsp:sp>
    <dsp:sp modelId="{F94A9286-155B-45E1-99BE-5FADCC580818}">
      <dsp:nvSpPr>
        <dsp:cNvPr id="0" name=""/>
        <dsp:cNvSpPr/>
      </dsp:nvSpPr>
      <dsp:spPr>
        <a:xfrm>
          <a:off x="76309" y="915708"/>
          <a:ext cx="1266083" cy="610472"/>
        </a:xfrm>
        <a:prstGeom prst="downArrow">
          <a:avLst/>
        </a:prstGeom>
        <a:solidFill>
          <a:schemeClr val="accent4">
            <a:tint val="50000"/>
            <a:hueOff val="-325278"/>
            <a:satOff val="-3871"/>
            <a:lumOff val="-100"/>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DFFFE311-2877-431E-BE3B-A3AB8A317E61}">
      <dsp:nvSpPr>
        <dsp:cNvPr id="0" name=""/>
        <dsp:cNvSpPr/>
      </dsp:nvSpPr>
      <dsp:spPr>
        <a:xfrm>
          <a:off x="0" y="1678798"/>
          <a:ext cx="6330418" cy="763090"/>
        </a:xfrm>
        <a:prstGeom prst="roundRect">
          <a:avLst>
            <a:gd name="adj" fmla="val 10000"/>
          </a:avLst>
        </a:prstGeom>
        <a:gradFill rotWithShape="0">
          <a:gsLst>
            <a:gs pos="0">
              <a:schemeClr val="accent4">
                <a:hueOff val="-372305"/>
                <a:satOff val="-17457"/>
                <a:lumOff val="4511"/>
                <a:alphaOff val="0"/>
                <a:tint val="85000"/>
                <a:shade val="98000"/>
                <a:satMod val="110000"/>
                <a:lumMod val="103000"/>
              </a:schemeClr>
            </a:gs>
            <a:gs pos="50000">
              <a:schemeClr val="accent4">
                <a:hueOff val="-372305"/>
                <a:satOff val="-17457"/>
                <a:lumOff val="4511"/>
                <a:alphaOff val="0"/>
                <a:shade val="85000"/>
                <a:satMod val="105000"/>
                <a:lumMod val="100000"/>
              </a:schemeClr>
            </a:gs>
            <a:gs pos="100000">
              <a:schemeClr val="accent4">
                <a:hueOff val="-372305"/>
                <a:satOff val="-17457"/>
                <a:lumOff val="4511"/>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a:t>Audit</a:t>
          </a:r>
          <a:endParaRPr lang="en-US" sz="3500" kern="1200"/>
        </a:p>
      </dsp:txBody>
      <dsp:txXfrm>
        <a:off x="1342392" y="1678798"/>
        <a:ext cx="4988025" cy="763090"/>
      </dsp:txXfrm>
    </dsp:sp>
    <dsp:sp modelId="{C06F513D-B41F-4130-A88C-3D1CAFB72FA2}">
      <dsp:nvSpPr>
        <dsp:cNvPr id="0" name=""/>
        <dsp:cNvSpPr/>
      </dsp:nvSpPr>
      <dsp:spPr>
        <a:xfrm>
          <a:off x="76309" y="1755107"/>
          <a:ext cx="1266083" cy="610472"/>
        </a:xfrm>
        <a:prstGeom prst="downArrow">
          <a:avLst/>
        </a:prstGeom>
        <a:solidFill>
          <a:schemeClr val="accent4">
            <a:tint val="50000"/>
            <a:hueOff val="-650555"/>
            <a:satOff val="-7741"/>
            <a:lumOff val="-201"/>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45876F30-C09F-4B8E-B588-4140C71BEABA}">
      <dsp:nvSpPr>
        <dsp:cNvPr id="0" name=""/>
        <dsp:cNvSpPr/>
      </dsp:nvSpPr>
      <dsp:spPr>
        <a:xfrm>
          <a:off x="0" y="2518197"/>
          <a:ext cx="6330418" cy="763090"/>
        </a:xfrm>
        <a:prstGeom prst="roundRect">
          <a:avLst>
            <a:gd name="adj" fmla="val 10000"/>
          </a:avLst>
        </a:prstGeom>
        <a:gradFill rotWithShape="0">
          <a:gsLst>
            <a:gs pos="0">
              <a:schemeClr val="accent4">
                <a:hueOff val="-558457"/>
                <a:satOff val="-26186"/>
                <a:lumOff val="6766"/>
                <a:alphaOff val="0"/>
                <a:tint val="85000"/>
                <a:shade val="98000"/>
                <a:satMod val="110000"/>
                <a:lumMod val="103000"/>
              </a:schemeClr>
            </a:gs>
            <a:gs pos="50000">
              <a:schemeClr val="accent4">
                <a:hueOff val="-558457"/>
                <a:satOff val="-26186"/>
                <a:lumOff val="6766"/>
                <a:alphaOff val="0"/>
                <a:shade val="85000"/>
                <a:satMod val="105000"/>
                <a:lumMod val="100000"/>
              </a:schemeClr>
            </a:gs>
            <a:gs pos="100000">
              <a:schemeClr val="accent4">
                <a:hueOff val="-558457"/>
                <a:satOff val="-26186"/>
                <a:lumOff val="6766"/>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a:t>DeployIfNotExists</a:t>
          </a:r>
          <a:endParaRPr lang="en-US" sz="3500" kern="1200"/>
        </a:p>
      </dsp:txBody>
      <dsp:txXfrm>
        <a:off x="1342392" y="2518197"/>
        <a:ext cx="4988025" cy="763090"/>
      </dsp:txXfrm>
    </dsp:sp>
    <dsp:sp modelId="{08C1C6A9-8799-4C38-83BD-DA3DAD97F461}">
      <dsp:nvSpPr>
        <dsp:cNvPr id="0" name=""/>
        <dsp:cNvSpPr/>
      </dsp:nvSpPr>
      <dsp:spPr>
        <a:xfrm>
          <a:off x="76309" y="2594506"/>
          <a:ext cx="1266083" cy="610472"/>
        </a:xfrm>
        <a:prstGeom prst="downArrow">
          <a:avLst/>
        </a:prstGeom>
        <a:solidFill>
          <a:schemeClr val="accent4">
            <a:tint val="50000"/>
            <a:hueOff val="-975833"/>
            <a:satOff val="-11612"/>
            <a:lumOff val="-301"/>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 modelId="{18533AF9-97E5-4C65-A97F-C1A5CD4401C0}">
      <dsp:nvSpPr>
        <dsp:cNvPr id="0" name=""/>
        <dsp:cNvSpPr/>
      </dsp:nvSpPr>
      <dsp:spPr>
        <a:xfrm>
          <a:off x="0" y="3357596"/>
          <a:ext cx="6330418" cy="763090"/>
        </a:xfrm>
        <a:prstGeom prst="roundRect">
          <a:avLst>
            <a:gd name="adj" fmla="val 10000"/>
          </a:avLst>
        </a:prstGeom>
        <a:gradFill rotWithShape="0">
          <a:gsLst>
            <a:gs pos="0">
              <a:schemeClr val="accent4">
                <a:hueOff val="-744609"/>
                <a:satOff val="-34914"/>
                <a:lumOff val="9021"/>
                <a:alphaOff val="0"/>
                <a:tint val="85000"/>
                <a:shade val="98000"/>
                <a:satMod val="110000"/>
                <a:lumMod val="103000"/>
              </a:schemeClr>
            </a:gs>
            <a:gs pos="50000">
              <a:schemeClr val="accent4">
                <a:hueOff val="-744609"/>
                <a:satOff val="-34914"/>
                <a:lumOff val="9021"/>
                <a:alphaOff val="0"/>
                <a:shade val="85000"/>
                <a:satMod val="105000"/>
                <a:lumMod val="100000"/>
              </a:schemeClr>
            </a:gs>
            <a:gs pos="100000">
              <a:schemeClr val="accent4">
                <a:hueOff val="-744609"/>
                <a:satOff val="-34914"/>
                <a:lumOff val="9021"/>
                <a:alphaOff val="0"/>
                <a:shade val="60000"/>
                <a:satMod val="120000"/>
                <a:lumMod val="100000"/>
              </a:schemeClr>
            </a:gs>
          </a:gsLst>
          <a:lin ang="5400000" scaled="0"/>
        </a:gradFill>
        <a:ln>
          <a:noFill/>
        </a:ln>
        <a:effectLst>
          <a:outerShdw blurRad="50800" dist="15875" dir="5400000" algn="ctr" rotWithShape="0">
            <a:srgbClr val="000000">
              <a:alpha val="6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0" i="0" kern="1200"/>
            <a:t>AuditIfNotExists</a:t>
          </a:r>
          <a:endParaRPr lang="en-US" sz="3500" kern="1200"/>
        </a:p>
      </dsp:txBody>
      <dsp:txXfrm>
        <a:off x="1342392" y="3357596"/>
        <a:ext cx="4988025" cy="763090"/>
      </dsp:txXfrm>
    </dsp:sp>
    <dsp:sp modelId="{CD57BC29-78BF-4EBF-B2BC-82D8C1B4CC15}">
      <dsp:nvSpPr>
        <dsp:cNvPr id="0" name=""/>
        <dsp:cNvSpPr/>
      </dsp:nvSpPr>
      <dsp:spPr>
        <a:xfrm>
          <a:off x="76309" y="3433905"/>
          <a:ext cx="1266083" cy="610472"/>
        </a:xfrm>
        <a:prstGeom prst="downArrow">
          <a:avLst/>
        </a:prstGeom>
        <a:solidFill>
          <a:schemeClr val="accent4">
            <a:tint val="50000"/>
            <a:hueOff val="-1301111"/>
            <a:satOff val="-15483"/>
            <a:lumOff val="-402"/>
            <a:alphaOff val="0"/>
          </a:schemeClr>
        </a:solidFill>
        <a:ln>
          <a:noFill/>
        </a:ln>
        <a:effectLst>
          <a:outerShdw blurRad="50800" dist="15875" dir="5400000" algn="ctr" rotWithShape="0">
            <a:srgbClr val="000000">
              <a:alpha val="68000"/>
            </a:srgbClr>
          </a:outerShdw>
        </a:effectLst>
      </dsp:spPr>
      <dsp:style>
        <a:lnRef idx="0">
          <a:scrgbClr r="0" g="0" b="0"/>
        </a:lnRef>
        <a:fillRef idx="1">
          <a:scrgbClr r="0" g="0" b="0"/>
        </a:fillRef>
        <a:effectRef idx="2">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786B1D-C0BD-4BDE-A5BE-5384E91EF33D}">
      <dsp:nvSpPr>
        <dsp:cNvPr id="0" name=""/>
        <dsp:cNvSpPr/>
      </dsp:nvSpPr>
      <dsp:spPr>
        <a:xfrm>
          <a:off x="1205" y="73695"/>
          <a:ext cx="4231744" cy="2687157"/>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74B394-2610-4236-B8B0-6E4057341C80}">
      <dsp:nvSpPr>
        <dsp:cNvPr id="0" name=""/>
        <dsp:cNvSpPr/>
      </dsp:nvSpPr>
      <dsp:spPr>
        <a:xfrm>
          <a:off x="471399" y="520379"/>
          <a:ext cx="4231744" cy="2687157"/>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dirty="0"/>
            <a:t>RBAC</a:t>
          </a:r>
          <a:r>
            <a:rPr lang="en-US" sz="3200" kern="1200" dirty="0"/>
            <a:t> focuses on user actions at a specific scope (resource, subscription, etc.)</a:t>
          </a:r>
        </a:p>
      </dsp:txBody>
      <dsp:txXfrm>
        <a:off x="550103" y="599083"/>
        <a:ext cx="4074336" cy="2529749"/>
      </dsp:txXfrm>
    </dsp:sp>
    <dsp:sp modelId="{D373998D-F7FD-4561-94AB-6DA6D6182DAF}">
      <dsp:nvSpPr>
        <dsp:cNvPr id="0" name=""/>
        <dsp:cNvSpPr/>
      </dsp:nvSpPr>
      <dsp:spPr>
        <a:xfrm>
          <a:off x="5173337" y="73695"/>
          <a:ext cx="4231744" cy="2687157"/>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7C101D-4754-4881-9ED8-F2D768376FCE}">
      <dsp:nvSpPr>
        <dsp:cNvPr id="0" name=""/>
        <dsp:cNvSpPr/>
      </dsp:nvSpPr>
      <dsp:spPr>
        <a:xfrm>
          <a:off x="5643531" y="520379"/>
          <a:ext cx="4231744" cy="2687157"/>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dirty="0"/>
            <a:t>Policy</a:t>
          </a:r>
          <a:r>
            <a:rPr lang="en-US" sz="3200" kern="1200" dirty="0"/>
            <a:t> focuses on resource properties (what is allowed, where, with what attributes, etc.)</a:t>
          </a:r>
        </a:p>
      </dsp:txBody>
      <dsp:txXfrm>
        <a:off x="5722235" y="599083"/>
        <a:ext cx="4074336" cy="252974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23.10.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we are going to go over how you can implement effective governance at scale across all your environments</a:t>
            </a:r>
          </a:p>
        </p:txBody>
      </p:sp>
      <p:sp>
        <p:nvSpPr>
          <p:cNvPr id="4" name="Slide Number Placeholder 3"/>
          <p:cNvSpPr>
            <a:spLocks noGrp="1"/>
          </p:cNvSpPr>
          <p:nvPr>
            <p:ph type="sldNum" sz="quarter" idx="10"/>
          </p:nvPr>
        </p:nvSpPr>
        <p:spPr/>
        <p:txBody>
          <a:bodyPr/>
          <a:lstStyle/>
          <a:p>
            <a:fld id="{5DB9A669-500E-4972-88FF-086ACB0F9894}" type="slidenum">
              <a:rPr lang="en-US" smtClean="0"/>
              <a:t>2</a:t>
            </a:fld>
            <a:endParaRPr lang="en-US"/>
          </a:p>
        </p:txBody>
      </p:sp>
    </p:spTree>
    <p:extLst>
      <p:ext uri="{BB962C8B-B14F-4D97-AF65-F5344CB8AC3E}">
        <p14:creationId xmlns:p14="http://schemas.microsoft.com/office/powerpoint/2010/main" val="1065323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530"/>
              <a:t>Azure Policy: a powerful </a:t>
            </a:r>
            <a:r>
              <a:rPr lang="en-US" sz="1530" b="0"/>
              <a:t>governance platform that enables the largest enterprises to govern their cloud environment at scale across all subscriptions declaratively</a:t>
            </a:r>
          </a:p>
          <a:p>
            <a:r>
              <a:rPr lang="en-US" sz="1530" b="0"/>
              <a:t>This helps enterprises to:</a:t>
            </a:r>
          </a:p>
          <a:p>
            <a:pPr lvl="1"/>
            <a:r>
              <a:rPr lang="en-US" sz="1530" b="0"/>
              <a:t>Enforce standards and guardrails</a:t>
            </a:r>
          </a:p>
          <a:p>
            <a:pPr lvl="1"/>
            <a:r>
              <a:rPr lang="en-US" sz="1530" b="0"/>
              <a:t>Meet regulatory compliance and audit requirements</a:t>
            </a:r>
          </a:p>
          <a:p>
            <a:pPr lvl="1"/>
            <a:r>
              <a:rPr lang="en-US" sz="1530" b="0"/>
              <a:t>Control costs</a:t>
            </a:r>
          </a:p>
          <a:p>
            <a:pPr lvl="1"/>
            <a:r>
              <a:rPr lang="en-US" sz="1530" b="0"/>
              <a:t>Maintain security and performance consistency </a:t>
            </a:r>
          </a:p>
          <a:p>
            <a:pPr lvl="1"/>
            <a:r>
              <a:rPr lang="en-US" sz="1530" b="0"/>
              <a:t>Impose enterprise wide design principles</a:t>
            </a:r>
          </a:p>
          <a:p>
            <a:pPr lvl="0"/>
            <a:endParaRPr lang="en-US" sz="900" b="1" kern="1200">
              <a:solidFill>
                <a:schemeClr val="tx1"/>
              </a:solidFill>
              <a:effectLst/>
              <a:latin typeface="Segoe UI Light" pitchFamily="34" charset="0"/>
              <a:ea typeface="+mn-ea"/>
              <a:cs typeface="+mn-cs"/>
            </a:endParaRPr>
          </a:p>
          <a:p>
            <a:pPr lvl="0"/>
            <a:r>
              <a:rPr lang="en-US" sz="900" b="1" kern="1200">
                <a:solidFill>
                  <a:schemeClr val="tx1"/>
                </a:solidFill>
                <a:effectLst/>
                <a:latin typeface="Segoe UI Light" pitchFamily="34" charset="0"/>
                <a:ea typeface="+mn-ea"/>
                <a:cs typeface="+mn-cs"/>
              </a:rPr>
              <a:t>Policy-based management</a:t>
            </a:r>
          </a:p>
          <a:p>
            <a:r>
              <a:rPr lang="en-US" sz="900" b="0" i="1" kern="1200">
                <a:solidFill>
                  <a:schemeClr val="tx1"/>
                </a:solidFill>
                <a:effectLst/>
                <a:latin typeface="Segoe UI Light" pitchFamily="34" charset="0"/>
                <a:ea typeface="+mn-ea"/>
                <a:cs typeface="+mn-cs"/>
              </a:rPr>
              <a:t>Add policies to your resources</a:t>
            </a:r>
            <a:endParaRPr lang="en-US" sz="900" b="0" kern="1200">
              <a:solidFill>
                <a:schemeClr val="tx1"/>
              </a:solidFill>
              <a:effectLst/>
              <a:latin typeface="Segoe UI Light" pitchFamily="34" charset="0"/>
              <a:ea typeface="+mn-ea"/>
              <a:cs typeface="+mn-cs"/>
            </a:endParaRPr>
          </a:p>
          <a:p>
            <a:r>
              <a:rPr lang="en-US" sz="900" b="0" kern="1200">
                <a:solidFill>
                  <a:schemeClr val="tx1"/>
                </a:solidFill>
                <a:effectLst/>
                <a:latin typeface="Segoe UI Light" pitchFamily="34" charset="0"/>
                <a:ea typeface="+mn-ea"/>
                <a:cs typeface="+mn-cs"/>
              </a:rPr>
              <a:t>Turn on built-in policies, or build your own custom policies to enable security and management at scale for Azure resources. Restrict deployment options for your organization to specific datacenters, or enable the creation of specific resources types only. Establish tagging metadata to help drive accountability, compliance, and much more.</a:t>
            </a:r>
          </a:p>
          <a:p>
            <a:endParaRPr lang="en-US" sz="900" b="0" i="1" kern="1200">
              <a:solidFill>
                <a:schemeClr val="tx1"/>
              </a:solidFill>
              <a:effectLst/>
              <a:latin typeface="Segoe UI Light" pitchFamily="34" charset="0"/>
              <a:ea typeface="+mn-ea"/>
              <a:cs typeface="+mn-cs"/>
            </a:endParaRPr>
          </a:p>
          <a:p>
            <a:r>
              <a:rPr lang="en-US" sz="900" b="0" i="1" kern="1200">
                <a:solidFill>
                  <a:schemeClr val="tx1"/>
                </a:solidFill>
                <a:effectLst/>
                <a:latin typeface="Segoe UI Light" pitchFamily="34" charset="0"/>
                <a:ea typeface="+mn-ea"/>
                <a:cs typeface="+mn-cs"/>
              </a:rPr>
              <a:t>Choose how to build your policies</a:t>
            </a:r>
            <a:endParaRPr lang="en-US" sz="900" b="0" kern="1200">
              <a:solidFill>
                <a:schemeClr val="tx1"/>
              </a:solidFill>
              <a:effectLst/>
              <a:latin typeface="Segoe UI Light" pitchFamily="34" charset="0"/>
              <a:ea typeface="+mn-ea"/>
              <a:cs typeface="+mn-cs"/>
            </a:endParaRPr>
          </a:p>
          <a:p>
            <a:r>
              <a:rPr lang="en-US" sz="900" b="0" kern="1200">
                <a:solidFill>
                  <a:schemeClr val="tx1"/>
                </a:solidFill>
                <a:effectLst/>
                <a:latin typeface="Segoe UI Light" pitchFamily="34" charset="0"/>
                <a:ea typeface="+mn-ea"/>
                <a:cs typeface="+mn-cs"/>
              </a:rPr>
              <a:t>Construct policies in the Azure portal with full IntelliSense support or any JSON editor, and import policies using Bash, PowerShell, or API.  </a:t>
            </a:r>
          </a:p>
          <a:p>
            <a:endParaRPr lang="en-US" sz="900" b="0" i="1" kern="1200">
              <a:solidFill>
                <a:schemeClr val="tx1"/>
              </a:solidFill>
              <a:effectLst/>
              <a:latin typeface="Segoe UI Light" pitchFamily="34" charset="0"/>
              <a:ea typeface="+mn-ea"/>
              <a:cs typeface="+mn-cs"/>
            </a:endParaRPr>
          </a:p>
          <a:p>
            <a:r>
              <a:rPr lang="en-US" sz="900" b="0" i="1" kern="1200">
                <a:solidFill>
                  <a:schemeClr val="tx1"/>
                </a:solidFill>
                <a:effectLst/>
                <a:latin typeface="Segoe UI Light" pitchFamily="34" charset="0"/>
                <a:ea typeface="+mn-ea"/>
                <a:cs typeface="+mn-cs"/>
              </a:rPr>
              <a:t>Apply policies at any scale</a:t>
            </a:r>
            <a:endParaRPr lang="en-US" sz="900" b="0" kern="1200">
              <a:solidFill>
                <a:schemeClr val="tx1"/>
              </a:solidFill>
              <a:effectLst/>
              <a:latin typeface="Segoe UI Light" pitchFamily="34" charset="0"/>
              <a:ea typeface="+mn-ea"/>
              <a:cs typeface="+mn-cs"/>
            </a:endParaRPr>
          </a:p>
          <a:p>
            <a:r>
              <a:rPr lang="en-US" sz="900" b="0" kern="1200">
                <a:solidFill>
                  <a:schemeClr val="tx1"/>
                </a:solidFill>
                <a:effectLst/>
                <a:latin typeface="Segoe UI Light" pitchFamily="34" charset="0"/>
                <a:ea typeface="+mn-ea"/>
                <a:cs typeface="+mn-cs"/>
              </a:rPr>
              <a:t>Apply policy over your Azure resources at a scale of your choosing, from a single subscription to a management group with control across your entire organization.  </a:t>
            </a:r>
          </a:p>
          <a:p>
            <a:endParaRPr lang="en-US" sz="900" b="0" i="1" kern="1200">
              <a:solidFill>
                <a:schemeClr val="tx1"/>
              </a:solidFill>
              <a:effectLst/>
              <a:latin typeface="Segoe UI Light" pitchFamily="34" charset="0"/>
              <a:ea typeface="+mn-ea"/>
              <a:cs typeface="+mn-cs"/>
            </a:endParaRPr>
          </a:p>
          <a:p>
            <a:r>
              <a:rPr lang="en-US" sz="900" b="0" i="1" kern="1200">
                <a:solidFill>
                  <a:schemeClr val="tx1"/>
                </a:solidFill>
                <a:effectLst/>
                <a:latin typeface="Segoe UI Light" pitchFamily="34" charset="0"/>
                <a:ea typeface="+mn-ea"/>
                <a:cs typeface="+mn-cs"/>
              </a:rPr>
              <a:t>Monitor compliance</a:t>
            </a:r>
            <a:endParaRPr lang="en-US" sz="900" b="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Choose to either enforce policies, or audit policy compliance against best practices. View policy compliance for individual policies, or aggregate multiple policies together into initiatives and oversee compliance for the whole initiative. See how compliance to policies is trending over time.</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5396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0/23/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521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2432212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0/23/2019 9:19 A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29</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31</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36507623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37</a:t>
            </a:fld>
            <a:endParaRPr lang="de-CH"/>
          </a:p>
        </p:txBody>
      </p:sp>
    </p:spTree>
    <p:extLst>
      <p:ext uri="{BB962C8B-B14F-4D97-AF65-F5344CB8AC3E}">
        <p14:creationId xmlns:p14="http://schemas.microsoft.com/office/powerpoint/2010/main" val="14995832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past was often a set of procedures and policies that developed over time.  Generally service owners and application developers viewed them as roadblocks or delay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3548620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0/23/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677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3641509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45</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0/23/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81084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21198849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52</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3/2019 9:1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3/2019 9:1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0/23/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04142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spc="0" dirty="0">
                <a:gradFill>
                  <a:gsLst>
                    <a:gs pos="7576">
                      <a:schemeClr val="bg1"/>
                    </a:gs>
                    <a:gs pos="51000">
                      <a:schemeClr val="bg1"/>
                    </a:gs>
                  </a:gsLst>
                  <a:lin ang="5400000" scaled="0"/>
                </a:gradFill>
              </a:rPr>
              <a:t>Azure has a full set of services to meet all your governance needs</a:t>
            </a:r>
          </a:p>
          <a:p>
            <a:endParaRPr lang="en-US" sz="900" b="1" spc="0" dirty="0">
              <a:gradFill>
                <a:gsLst>
                  <a:gs pos="7576">
                    <a:schemeClr val="bg1"/>
                  </a:gs>
                  <a:gs pos="51000">
                    <a:schemeClr val="bg1"/>
                  </a:gs>
                </a:gsLst>
                <a:lin ang="5400000" scaled="0"/>
              </a:gradFill>
            </a:endParaRPr>
          </a:p>
          <a:p>
            <a:r>
              <a:rPr lang="en-US" sz="900" b="0" spc="0" dirty="0">
                <a:gradFill>
                  <a:gsLst>
                    <a:gs pos="7576">
                      <a:schemeClr val="bg1"/>
                    </a:gs>
                    <a:gs pos="51000">
                      <a:schemeClr val="bg1"/>
                    </a:gs>
                  </a:gsLst>
                  <a:lin ang="5400000" scaled="0"/>
                </a:gradFill>
              </a:rPr>
              <a:t>As we come to a close, I would like to you to explore all the new services we have discussed in this session, and ensure that your production resources are well governed</a:t>
            </a:r>
            <a:endParaRPr lang="en-US" sz="800" b="0" spc="0" dirty="0">
              <a:gradFill>
                <a:gsLst>
                  <a:gs pos="7576">
                    <a:schemeClr val="bg1"/>
                  </a:gs>
                  <a:gs pos="51000">
                    <a:schemeClr val="bg1"/>
                  </a:gs>
                </a:gsLst>
                <a:lin ang="5400000" scaled="0"/>
              </a:gradFill>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64579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3751574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457200" lvl="1"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7116531-1913-48F4-8397-EEA529364279}" type="slidenum">
              <a:rPr lang="en-US" smtClean="0"/>
              <a:pPr/>
              <a:t>13</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971090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15</a:t>
            </a:fld>
            <a:endParaRPr lang="de-CH"/>
          </a:p>
        </p:txBody>
      </p:sp>
    </p:spTree>
    <p:extLst>
      <p:ext uri="{BB962C8B-B14F-4D97-AF65-F5344CB8AC3E}">
        <p14:creationId xmlns:p14="http://schemas.microsoft.com/office/powerpoint/2010/main" val="16047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705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3/2019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Blueprints.</a:t>
            </a:r>
          </a:p>
          <a:p>
            <a:endParaRPr lang="en-US"/>
          </a:p>
          <a:p>
            <a:r>
              <a:rPr lang="en-US"/>
              <a:t>In </a:t>
            </a:r>
            <a:r>
              <a:rPr lang="en-US" dirty="0"/>
              <a:t>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10/23/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10/23/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3751793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6843" y="3887812"/>
            <a:ext cx="12195668"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p:cNvSpPr/>
          <p:nvPr/>
        </p:nvSpPr>
        <p:spPr>
          <a:xfrm>
            <a:off x="-6843" y="2059012"/>
            <a:ext cx="12195668" cy="18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72440" y="2194560"/>
            <a:ext cx="11247120" cy="1739347"/>
          </a:xfrm>
        </p:spPr>
        <p:txBody>
          <a:bodyPr tIns="45720" bIns="45720" anchor="ctr">
            <a:normAutofit/>
          </a:bodyPr>
          <a:lstStyle>
            <a:lvl1pPr algn="ctr">
              <a:lnSpc>
                <a:spcPct val="80000"/>
              </a:lnSpc>
              <a:defRPr sz="6000" spc="15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342900" y="3915938"/>
            <a:ext cx="11506200" cy="457200"/>
          </a:xfrm>
        </p:spPr>
        <p:txBody>
          <a:bodyPr>
            <a:normAutofit/>
          </a:bodyPr>
          <a:lstStyle>
            <a:lvl1pPr marL="0" indent="0" algn="ctr">
              <a:buNone/>
              <a:defRPr sz="2000">
                <a:solidFill>
                  <a:srgbClr val="FFFFFF"/>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96DFF08F-DC6B-4601-B491-B0F83F6DD2DA}" type="datetimeFigureOut">
              <a:rPr lang="en-US" smtClean="0"/>
              <a:t>10/23/20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4FAB73BC-B049-4115-A692-8D63A059BFB8}" type="slidenum">
              <a:rPr lang="en-US" smtClean="0"/>
              <a:t>‹#›</a:t>
            </a:fld>
            <a:endParaRPr lang="en-US" dirty="0"/>
          </a:p>
        </p:txBody>
      </p:sp>
    </p:spTree>
    <p:extLst>
      <p:ext uri="{BB962C8B-B14F-4D97-AF65-F5344CB8AC3E}">
        <p14:creationId xmlns:p14="http://schemas.microsoft.com/office/powerpoint/2010/main" val="1355155254"/>
      </p:ext>
    </p:extLst>
  </p:cSld>
  <p:clrMapOvr>
    <a:masterClrMapping/>
  </p:clrMapOvr>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10/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098349558"/>
      </p:ext>
    </p:extLst>
  </p:cSld>
  <p:clrMapOvr>
    <a:masterClrMapping/>
  </p:clrMapOvr>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6843" y="3887812"/>
            <a:ext cx="12195668"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75488" y="2194560"/>
            <a:ext cx="11247120" cy="1737360"/>
          </a:xfrm>
        </p:spPr>
        <p:txBody>
          <a:bodyPr anchor="ctr">
            <a:noAutofit/>
          </a:bodyPr>
          <a:lstStyle>
            <a:lvl1pPr algn="ctr">
              <a:lnSpc>
                <a:spcPct val="80000"/>
              </a:lnSpc>
              <a:defRPr sz="6000" b="0" spc="150" baseline="0">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347472" y="3911827"/>
            <a:ext cx="11503152" cy="457200"/>
          </a:xfrm>
        </p:spPr>
        <p:txBody>
          <a:bodyPr anchor="t">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96DFF08F-DC6B-4601-B491-B0F83F6DD2DA}" type="datetimeFigureOut">
              <a:rPr lang="en-US" smtClean="0"/>
              <a:pPr/>
              <a:t>10/23/20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060964139"/>
      </p:ext>
    </p:extLst>
  </p:cSld>
  <p:clrMapOvr>
    <a:masterClrMapping/>
  </p:clrMapOvr>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smtClean="0"/>
              <a:t>10/2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849286132"/>
      </p:ext>
    </p:extLst>
  </p:cSld>
  <p:clrMapOvr>
    <a:masterClrMapping/>
  </p:clrMapOvr>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smtClean="0"/>
              <a:t>10/23/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557194525"/>
      </p:ext>
    </p:extLst>
  </p:cSld>
  <p:clrMapOvr>
    <a:masterClrMapping/>
  </p:clrMapOvr>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smtClean="0"/>
              <a:t>10/23/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007393247"/>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smtClean="0"/>
              <a:t>10/23/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336237780"/>
      </p:ext>
    </p:extLst>
  </p:cSld>
  <p:clrMapOvr>
    <a:masterClrMapping/>
  </p:clrMapOvr>
  <p:transition>
    <p:fade/>
  </p:transition>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10/2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959942071"/>
      </p:ext>
    </p:extLst>
  </p:cSld>
  <p:clrMapOvr>
    <a:masterClrMapping/>
  </p:clrMapOvr>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10/2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229833118"/>
      </p:ext>
    </p:extLst>
  </p:cSld>
  <p:clrMapOvr>
    <a:masterClrMapping/>
  </p:clrMapOvr>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10/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4120162891"/>
      </p:ext>
    </p:extLst>
  </p:cSld>
  <p:clrMapOvr>
    <a:masterClrMapping/>
  </p:clrMapOvr>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422854"/>
            <a:ext cx="2743196" cy="365125"/>
          </a:xfrm>
        </p:spPr>
        <p:txBody>
          <a:bodyPr/>
          <a:lstStyle/>
          <a:p>
            <a:fld id="{96DFF08F-DC6B-4601-B491-B0F83F6DD2DA}" type="datetimeFigureOut">
              <a:rPr lang="en-US" smtClean="0"/>
              <a:t>10/23/2019</a:t>
            </a:fld>
            <a:endParaRPr lang="en-US" dirty="0"/>
          </a:p>
        </p:txBody>
      </p:sp>
      <p:sp>
        <p:nvSpPr>
          <p:cNvPr id="5" name="Footer Placeholder 4"/>
          <p:cNvSpPr>
            <a:spLocks noGrp="1"/>
          </p:cNvSpPr>
          <p:nvPr>
            <p:ph type="ftr" sz="quarter" idx="11"/>
          </p:nvPr>
        </p:nvSpPr>
        <p:spPr>
          <a:xfrm>
            <a:off x="3776135" y="6422854"/>
            <a:ext cx="4279669" cy="365125"/>
          </a:xfrm>
        </p:spPr>
        <p:txBody>
          <a:bodyPr/>
          <a:lstStyle/>
          <a:p>
            <a:endParaRPr lang="en-US" dirty="0"/>
          </a:p>
        </p:txBody>
      </p:sp>
      <p:sp>
        <p:nvSpPr>
          <p:cNvPr id="6" name="Slide Number Placeholder 5"/>
          <p:cNvSpPr>
            <a:spLocks noGrp="1"/>
          </p:cNvSpPr>
          <p:nvPr>
            <p:ph type="sldNum" sz="quarter" idx="12"/>
          </p:nvPr>
        </p:nvSpPr>
        <p:spPr>
          <a:xfrm>
            <a:off x="8073048" y="6422854"/>
            <a:ext cx="879759" cy="365125"/>
          </a:xfrm>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331824650"/>
      </p:ext>
    </p:extLst>
  </p:cSld>
  <p:clrMapOvr>
    <a:masterClrMapping/>
  </p:clrMapOvr>
  <p:hf sldNum="0"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4174913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61466"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87778058"/>
      </p:ext>
    </p:extLst>
  </p:cSld>
  <p:clrMapOvr>
    <a:masterClrMapping/>
  </p:clrMapOvr>
  <p:transition>
    <p:fade/>
  </p:transition>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61466"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678906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9826129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81945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9065168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90717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595200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190442725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6689828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21058022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3505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54914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8185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05117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780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262926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8" y="228603"/>
            <a:ext cx="11173883" cy="666387"/>
          </a:xfrm>
        </p:spPr>
        <p:txBody>
          <a:bodyPr>
            <a:noAutofit/>
          </a:bodyPr>
          <a:lstStyle>
            <a:lvl1pPr algn="ctr">
              <a:defRPr sz="4400"/>
            </a:lvl1pPr>
          </a:lstStyle>
          <a:p>
            <a:r>
              <a:rPr lang="en-US" dirty="0"/>
              <a:t>Click to edit Master title style</a:t>
            </a:r>
          </a:p>
        </p:txBody>
      </p:sp>
      <p:sp>
        <p:nvSpPr>
          <p:cNvPr id="5" name="Slide Number Placeholder 4"/>
          <p:cNvSpPr>
            <a:spLocks noGrp="1"/>
          </p:cNvSpPr>
          <p:nvPr>
            <p:ph type="sldNum" sz="quarter" idx="11"/>
          </p:nvPr>
        </p:nvSpPr>
        <p:spPr>
          <a:xfrm>
            <a:off x="9229929" y="6396038"/>
            <a:ext cx="2743200" cy="365125"/>
          </a:xfr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300274398"/>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97400832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
        <p:nvSpPr>
          <p:cNvPr id="3" name="Slide Number Placeholder 2"/>
          <p:cNvSpPr>
            <a:spLocks noGrp="1"/>
          </p:cNvSpPr>
          <p:nvPr>
            <p:ph type="sldNum" sz="quarter" idx="10"/>
          </p:nvPr>
        </p:nvSpPr>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28256238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825267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07507"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287554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smtClean="0"/>
              <a:t>10/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8934992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0/23/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020461766"/>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814522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7374450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heme" Target="../theme/theme2.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14.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theme" Target="../theme/theme4.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image" Target="../media/image24.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image" Target="../media/image28.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8" Type="http://schemas.openxmlformats.org/officeDocument/2006/relationships/slideLayout" Target="../slideLayouts/slideLayout97.xml"/><Relationship Id="rId3"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34" Type="http://schemas.openxmlformats.org/officeDocument/2006/relationships/theme" Target="../theme/theme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image" Target="../media/image24.emf"/><Relationship Id="rId8"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theme" Target="../theme/theme7.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image" Target="../media/image24.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slideLayout" Target="../slideLayouts/slideLayout222.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slideLayout" Target="../slideLayouts/slideLayout230.xml"/><Relationship Id="rId50" Type="http://schemas.openxmlformats.org/officeDocument/2006/relationships/slideLayout" Target="../slideLayouts/slideLayout233.xml"/><Relationship Id="rId55" Type="http://schemas.openxmlformats.org/officeDocument/2006/relationships/slideLayout" Target="../slideLayouts/slideLayout238.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9" Type="http://schemas.openxmlformats.org/officeDocument/2006/relationships/slideLayout" Target="../slideLayouts/slideLayout212.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53" Type="http://schemas.openxmlformats.org/officeDocument/2006/relationships/slideLayout" Target="../slideLayouts/slideLayout236.xml"/><Relationship Id="rId58" Type="http://schemas.openxmlformats.org/officeDocument/2006/relationships/slideLayout" Target="../slideLayouts/slideLayout241.xml"/><Relationship Id="rId5" Type="http://schemas.openxmlformats.org/officeDocument/2006/relationships/slideLayout" Target="../slideLayouts/slideLayout188.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slideLayout" Target="../slideLayouts/slideLayout226.xml"/><Relationship Id="rId48" Type="http://schemas.openxmlformats.org/officeDocument/2006/relationships/slideLayout" Target="../slideLayouts/slideLayout231.xml"/><Relationship Id="rId56" Type="http://schemas.openxmlformats.org/officeDocument/2006/relationships/slideLayout" Target="../slideLayouts/slideLayout239.xml"/><Relationship Id="rId8" Type="http://schemas.openxmlformats.org/officeDocument/2006/relationships/slideLayout" Target="../slideLayouts/slideLayout191.xml"/><Relationship Id="rId51" Type="http://schemas.openxmlformats.org/officeDocument/2006/relationships/slideLayout" Target="../slideLayouts/slideLayout234.xml"/><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slideLayout" Target="../slideLayouts/slideLayout229.xml"/><Relationship Id="rId59" Type="http://schemas.openxmlformats.org/officeDocument/2006/relationships/theme" Target="../theme/theme8.xml"/><Relationship Id="rId20" Type="http://schemas.openxmlformats.org/officeDocument/2006/relationships/slideLayout" Target="../slideLayouts/slideLayout203.xml"/><Relationship Id="rId41" Type="http://schemas.openxmlformats.org/officeDocument/2006/relationships/slideLayout" Target="../slideLayouts/slideLayout224.xml"/><Relationship Id="rId54" Type="http://schemas.openxmlformats.org/officeDocument/2006/relationships/slideLayout" Target="../slideLayouts/slideLayout237.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49" Type="http://schemas.openxmlformats.org/officeDocument/2006/relationships/slideLayout" Target="../slideLayouts/slideLayout232.xml"/><Relationship Id="rId57" Type="http://schemas.openxmlformats.org/officeDocument/2006/relationships/slideLayout" Target="../slideLayouts/slideLayout240.xml"/><Relationship Id="rId10" Type="http://schemas.openxmlformats.org/officeDocument/2006/relationships/slideLayout" Target="../slideLayouts/slideLayout193.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52" Type="http://schemas.openxmlformats.org/officeDocument/2006/relationships/slideLayout" Target="../slideLayouts/slideLayout2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10/23/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 id="2147483974" r:id="rId20"/>
    <p:sldLayoutId id="2147483976" r:id="rId21"/>
    <p:sldLayoutId id="214748397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975"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 id="2147483981" r:id="rId3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fld id="{96DFF08F-DC6B-4601-B491-B0F83F6DD2DA}" type="datetimeFigureOut">
              <a:rPr lang="en-US" dirty="0"/>
              <a:pPr/>
              <a:t>10/23/2019</a:t>
            </a:fld>
            <a:endParaRPr lang="en-US" dirty="0"/>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endParaRPr lang="en-US" dirty="0"/>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fld id="{4FAB73BC-B049-4115-A692-8D63A059BFB8}" type="slidenum">
              <a:rPr lang="en-US" dirty="0"/>
              <a:pPr/>
              <a:t>‹#›</a:t>
            </a:fld>
            <a:endParaRPr lang="en-US" dirty="0"/>
          </a:p>
        </p:txBody>
      </p:sp>
      <p:grpSp>
        <p:nvGrpSpPr>
          <p:cNvPr id="8" name="GRID" hidden="1">
            <a:extLst>
              <a:ext uri="{FF2B5EF4-FFF2-40B4-BE49-F238E27FC236}">
                <a16:creationId xmlns:a16="http://schemas.microsoft.com/office/drawing/2014/main" id="{A8CA0856-2337-4FFE-B4B6-FAE10D7D0E1F}"/>
              </a:ext>
            </a:extLst>
          </p:cNvPr>
          <p:cNvGrpSpPr/>
          <p:nvPr userDrawn="1"/>
        </p:nvGrpSpPr>
        <p:grpSpPr>
          <a:xfrm>
            <a:off x="0" y="0"/>
            <a:ext cx="12192000" cy="6858000"/>
            <a:chOff x="0" y="0"/>
            <a:chExt cx="12192000" cy="6858000"/>
          </a:xfrm>
        </p:grpSpPr>
        <p:cxnSp>
          <p:nvCxnSpPr>
            <p:cNvPr id="9" name="Straight Connector 8">
              <a:extLst>
                <a:ext uri="{FF2B5EF4-FFF2-40B4-BE49-F238E27FC236}">
                  <a16:creationId xmlns:a16="http://schemas.microsoft.com/office/drawing/2014/main" id="{911B405B-941B-491A-9E8D-218B3BE7A285}"/>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F977541-8CA0-4402-9B08-06329112E44B}"/>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2DFCAA2-E9CD-4688-AE55-2849451E6F3F}"/>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931A7-E53D-42F5-99CD-4C4591562D9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0478DBA-7E9B-4F5F-AAAA-079D145FB0AF}"/>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A158B4A-8F03-4D29-A4DE-28E4DCA540D8}"/>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4B591E6-538E-4500-AF44-358F7FF536E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14F26E7-A024-4417-BEB7-029DF3D334D6}"/>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9079731-DF61-4EA7-AE55-93A88265178A}"/>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868A1E8-6A41-446F-A381-DA966B7CFA30}"/>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332C94-3C4D-4137-A4B2-FCFFCE98CCB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2A932D1-5A05-40EC-9D85-DE0F58BF940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617903-9330-4724-9A56-A5E1540BC60D}"/>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2EC1E0D-8905-4A9C-8AEC-4BAB3ED99B1B}"/>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B66CB8A-F76E-4856-BA28-D41C0693F71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DCA4A80-BD4E-4550-A749-7BBA4EA6E77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CC78D9-8DAA-42DB-8B45-AD3752BAB24E}"/>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F5E6375-5952-4DCD-B1A2-0DDAA43B794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1590559-1F3F-438E-AEDA-A07DE84B365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727F32A-0281-4906-9E00-6A87494E8317}"/>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93B4767-3023-4422-A120-BF2D79899F8D}"/>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38B741B-5A17-4F14-BDE3-1F5314CD0DB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E3DE7A1-FF98-4EB9-BE0F-6B936C9CAD87}"/>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162A3DB-043A-4D00-8843-FCB481A84F8D}"/>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D041F89-411D-40EB-AA4C-A2193A75B720}"/>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FAA8522-FEC9-44F8-9A37-33FFEA5B45B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C586DBC-3B12-4596-A7B2-79C63E2C9FB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A9FB69A-0AD9-4B50-B511-6E56EC67F2A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C97AACC-8231-43CD-A6AE-D8B0F7DE477F}"/>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246B12C-31A0-4379-B780-C90D54360D64}"/>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1AD4A3B-944D-488F-9383-C1E7728CC6FE}"/>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541E9F3-E5F2-4E98-A9F0-6729811756E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291B4DA-9788-4B5C-A7F5-027073C3D6B6}"/>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B912662-8A85-4E9A-B12B-4CAFAA4827A1}"/>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64 square" hidden="1">
            <a:extLst>
              <a:ext uri="{FF2B5EF4-FFF2-40B4-BE49-F238E27FC236}">
                <a16:creationId xmlns:a16="http://schemas.microsoft.com/office/drawing/2014/main" id="{5A79C1EA-45AD-4C9C-B670-457DDDA55AAE}"/>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4" name=".32 square" hidden="1">
            <a:extLst>
              <a:ext uri="{FF2B5EF4-FFF2-40B4-BE49-F238E27FC236}">
                <a16:creationId xmlns:a16="http://schemas.microsoft.com/office/drawing/2014/main" id="{051295A5-8913-462D-8E95-9E29D98F203D}"/>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179724"/>
      </p:ext>
    </p:extLst>
  </p:cSld>
  <p:clrMap bg1="dk1" tx1="lt1" bg2="dk2" tx2="lt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5" r:id="rId17"/>
    <p:sldLayoutId id="2147484016" r:id="rId18"/>
    <p:sldLayoutId id="2147484018" r:id="rId19"/>
    <p:sldLayoutId id="2147484019" r:id="rId20"/>
    <p:sldLayoutId id="2147484021" r:id="rId21"/>
    <p:sldLayoutId id="2147484022" r:id="rId22"/>
    <p:sldLayoutId id="2147484023" r:id="rId23"/>
    <p:sldLayoutId id="2147484024" r:id="rId24"/>
    <p:sldLayoutId id="2147484027" r:id="rId25"/>
    <p:sldLayoutId id="2147484028" r:id="rId26"/>
    <p:sldLayoutId id="2147484029" r:id="rId27"/>
    <p:sldLayoutId id="2147484032" r:id="rId28"/>
    <p:sldLayoutId id="2147483874" r:id="rId29"/>
    <p:sldLayoutId id="2147483875" r:id="rId30"/>
    <p:sldLayoutId id="2147483876" r:id="rId31"/>
    <p:sldLayoutId id="2147483878" r:id="rId32"/>
    <p:sldLayoutId id="2147483879" r:id="rId33"/>
    <p:sldLayoutId id="2147483881" r:id="rId34"/>
    <p:sldLayoutId id="2147483882" r:id="rId35"/>
    <p:sldLayoutId id="2147483883" r:id="rId36"/>
    <p:sldLayoutId id="2147483884" r:id="rId37"/>
    <p:sldLayoutId id="2147483885" r:id="rId38"/>
    <p:sldLayoutId id="2147483886" r:id="rId39"/>
    <p:sldLayoutId id="2147483887" r:id="rId40"/>
    <p:sldLayoutId id="2147483888" r:id="rId41"/>
    <p:sldLayoutId id="2147483890" r:id="rId42"/>
    <p:sldLayoutId id="2147483891" r:id="rId43"/>
    <p:sldLayoutId id="2147483892" r:id="rId44"/>
    <p:sldLayoutId id="2147483894" r:id="rId45"/>
    <p:sldLayoutId id="2147483895" r:id="rId46"/>
    <p:sldLayoutId id="2147483896" r:id="rId47"/>
    <p:sldLayoutId id="2147483897" r:id="rId48"/>
    <p:sldLayoutId id="2147483898" r:id="rId49"/>
    <p:sldLayoutId id="2147483899" r:id="rId50"/>
    <p:sldLayoutId id="2147483900" r:id="rId51"/>
    <p:sldLayoutId id="2147483901" r:id="rId52"/>
    <p:sldLayoutId id="2147483902" r:id="rId53"/>
    <p:sldLayoutId id="2147483905" r:id="rId54"/>
    <p:sldLayoutId id="2147483906" r:id="rId55"/>
    <p:sldLayoutId id="2147483907" r:id="rId56"/>
    <p:sldLayoutId id="2147483983" r:id="rId57"/>
    <p:sldLayoutId id="2147484033" r:id="rId58"/>
  </p:sldLayoutIdLst>
  <p:transition>
    <p:fade/>
  </p:transition>
  <p:hf sldNum="0" hdr="0" ftr="0" dt="0"/>
  <p:txStyles>
    <p:titleStyle>
      <a:lvl1pPr algn="l" defTabSz="914400" rtl="0" eaLnBrk="1" latinLnBrk="0" hangingPunct="1">
        <a:lnSpc>
          <a:spcPct val="85000"/>
        </a:lnSpc>
        <a:spcBef>
          <a:spcPct val="0"/>
        </a:spcBef>
        <a:buNone/>
        <a:defRPr sz="4000" kern="1200" cap="all"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requests.microsoftazurepass.com/OneTime/Request" TargetMode="External"/><Relationship Id="rId1" Type="http://schemas.openxmlformats.org/officeDocument/2006/relationships/slideLayout" Target="../slideLayouts/slideLayout199.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98.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2.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57.png"/><Relationship Id="rId7"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189.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58.sv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0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201.xml"/><Relationship Id="rId5" Type="http://schemas.openxmlformats.org/officeDocument/2006/relationships/image" Target="../media/image61.svg"/><Relationship Id="rId4" Type="http://schemas.openxmlformats.org/officeDocument/2006/relationships/image" Target="../media/image60.png"/></Relationships>
</file>

<file path=ppt/slides/_rels/slide19.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241.xml"/></Relationships>
</file>

<file path=ppt/slides/_rels/slide2.xml.rels><?xml version="1.0" encoding="UTF-8" standalone="yes"?>
<Relationships xmlns="http://schemas.openxmlformats.org/package/2006/relationships"><Relationship Id="rId3" Type="http://schemas.openxmlformats.org/officeDocument/2006/relationships/hyperlink" Target="mailto:Nicole.Welch@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95.xml"/></Relationships>
</file>

<file path=ppt/slides/_rels/slide2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199.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85.xml"/></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02.xml"/><Relationship Id="rId4" Type="http://schemas.openxmlformats.org/officeDocument/2006/relationships/image" Target="../media/image66.sv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8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8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203.xml"/><Relationship Id="rId4" Type="http://schemas.openxmlformats.org/officeDocument/2006/relationships/image" Target="../media/image8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2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46.png"/><Relationship Id="rId7" Type="http://schemas.openxmlformats.org/officeDocument/2006/relationships/image" Target="../media/image88.png"/><Relationship Id="rId2" Type="http://schemas.openxmlformats.org/officeDocument/2006/relationships/notesSlide" Target="../notesSlides/notesSlide12.xml"/><Relationship Id="rId1" Type="http://schemas.openxmlformats.org/officeDocument/2006/relationships/slideLayout" Target="../slideLayouts/slideLayout189.xml"/><Relationship Id="rId6" Type="http://schemas.openxmlformats.org/officeDocument/2006/relationships/image" Target="../media/image49.svg"/><Relationship Id="rId5" Type="http://schemas.openxmlformats.org/officeDocument/2006/relationships/image" Target="../media/image48.png"/><Relationship Id="rId10" Type="http://schemas.openxmlformats.org/officeDocument/2006/relationships/image" Target="../media/image51.svg"/><Relationship Id="rId4" Type="http://schemas.openxmlformats.org/officeDocument/2006/relationships/image" Target="../media/image47.svg"/><Relationship Id="rId9" Type="http://schemas.openxmlformats.org/officeDocument/2006/relationships/image" Target="../media/image50.png"/></Relationships>
</file>

<file path=ppt/slides/_rels/slide29.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3.xml"/><Relationship Id="rId1" Type="http://schemas.openxmlformats.org/officeDocument/2006/relationships/slideLayout" Target="../slideLayouts/slideLayout204.xml"/><Relationship Id="rId4" Type="http://schemas.openxmlformats.org/officeDocument/2006/relationships/image" Target="../media/image9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3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98.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4.xml"/><Relationship Id="rId1" Type="http://schemas.openxmlformats.org/officeDocument/2006/relationships/slideLayout" Target="../slideLayouts/slideLayout205.xml"/><Relationship Id="rId5" Type="http://schemas.openxmlformats.org/officeDocument/2006/relationships/image" Target="../media/image94.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33.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189.xml"/><Relationship Id="rId6" Type="http://schemas.openxmlformats.org/officeDocument/2006/relationships/image" Target="../media/image49.svg"/><Relationship Id="rId5" Type="http://schemas.openxmlformats.org/officeDocument/2006/relationships/image" Target="../media/image48.png"/><Relationship Id="rId10" Type="http://schemas.openxmlformats.org/officeDocument/2006/relationships/image" Target="../media/image89.svg"/><Relationship Id="rId4" Type="http://schemas.openxmlformats.org/officeDocument/2006/relationships/image" Target="../media/image47.svg"/><Relationship Id="rId9" Type="http://schemas.openxmlformats.org/officeDocument/2006/relationships/image" Target="../media/image88.png"/></Relationships>
</file>

<file path=ppt/slides/_rels/slide3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6.xml"/><Relationship Id="rId1" Type="http://schemas.openxmlformats.org/officeDocument/2006/relationships/slideLayout" Target="../slideLayouts/slideLayout206.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8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98.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7.xml"/><Relationship Id="rId1" Type="http://schemas.openxmlformats.org/officeDocument/2006/relationships/slideLayout" Target="../slideLayouts/slideLayout20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8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44.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189.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47.svg"/></Relationships>
</file>

<file path=ppt/slides/_rels/slide4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2.xml"/><Relationship Id="rId1" Type="http://schemas.openxmlformats.org/officeDocument/2006/relationships/slideLayout" Target="../slideLayouts/slideLayout201.xml"/><Relationship Id="rId6" Type="http://schemas.microsoft.com/office/2007/relationships/hdphoto" Target="../media/hdphoto2.wdp"/><Relationship Id="rId5" Type="http://schemas.openxmlformats.org/officeDocument/2006/relationships/image" Target="../media/image106.png"/><Relationship Id="rId4" Type="http://schemas.openxmlformats.org/officeDocument/2006/relationships/image" Target="../media/image105.svg"/></Relationships>
</file>

<file path=ppt/slides/_rels/slide46.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23.xml"/><Relationship Id="rId1" Type="http://schemas.openxmlformats.org/officeDocument/2006/relationships/slideLayout" Target="../slideLayouts/slideLayout208.xml"/><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s>
</file>

<file path=ppt/slides/_rels/slide47.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24.xml"/><Relationship Id="rId1" Type="http://schemas.openxmlformats.org/officeDocument/2006/relationships/slideLayout" Target="../slideLayouts/slideLayout201.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3.xml"/></Relationships>
</file>

<file path=ppt/slides/_rels/slide5.xml.rels><?xml version="1.0" encoding="UTF-8" standalone="yes"?>
<Relationships xmlns="http://schemas.openxmlformats.org/package/2006/relationships"><Relationship Id="rId2" Type="http://schemas.openxmlformats.org/officeDocument/2006/relationships/hyperlink" Target="https://github.com/nluedeman/GovernanceHackathon" TargetMode="External"/><Relationship Id="rId1" Type="http://schemas.openxmlformats.org/officeDocument/2006/relationships/slideLayout" Target="../slideLayouts/slideLayout18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51.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189.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s/_rels/slide5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7.xml"/><Relationship Id="rId1" Type="http://schemas.openxmlformats.org/officeDocument/2006/relationships/slideLayout" Target="../slideLayouts/slideLayout210.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119.png"/></Relationships>
</file>

<file path=ppt/slides/_rels/slide53.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118.png"/><Relationship Id="rId7"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210.xml"/><Relationship Id="rId6" Type="http://schemas.openxmlformats.org/officeDocument/2006/relationships/image" Target="../media/image119.png"/><Relationship Id="rId5" Type="http://schemas.openxmlformats.org/officeDocument/2006/relationships/image" Target="../media/image121.png"/><Relationship Id="rId4" Type="http://schemas.openxmlformats.org/officeDocument/2006/relationships/image" Target="../media/image120.png"/></Relationships>
</file>

<file path=ppt/slides/_rels/slide54.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18.png"/><Relationship Id="rId7" Type="http://schemas.openxmlformats.org/officeDocument/2006/relationships/image" Target="../media/image124.png"/><Relationship Id="rId12" Type="http://schemas.openxmlformats.org/officeDocument/2006/relationships/image" Target="../media/image66.svg"/><Relationship Id="rId2" Type="http://schemas.openxmlformats.org/officeDocument/2006/relationships/notesSlide" Target="../notesSlides/notesSlide29.xml"/><Relationship Id="rId1" Type="http://schemas.openxmlformats.org/officeDocument/2006/relationships/slideLayout" Target="../slideLayouts/slideLayout210.xml"/><Relationship Id="rId6" Type="http://schemas.openxmlformats.org/officeDocument/2006/relationships/image" Target="../media/image123.png"/><Relationship Id="rId11" Type="http://schemas.openxmlformats.org/officeDocument/2006/relationships/image" Target="../media/image65.png"/><Relationship Id="rId5" Type="http://schemas.openxmlformats.org/officeDocument/2006/relationships/image" Target="../media/image122.png"/><Relationship Id="rId10" Type="http://schemas.openxmlformats.org/officeDocument/2006/relationships/image" Target="../media/image127.png"/><Relationship Id="rId4" Type="http://schemas.openxmlformats.org/officeDocument/2006/relationships/image" Target="../media/image119.png"/><Relationship Id="rId9" Type="http://schemas.openxmlformats.org/officeDocument/2006/relationships/image" Target="../media/image126.png"/></Relationships>
</file>

<file path=ppt/slides/_rels/slide5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18.png"/><Relationship Id="rId1" Type="http://schemas.openxmlformats.org/officeDocument/2006/relationships/slideLayout" Target="../slideLayouts/slideLayout210.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129.png"/></Relationships>
</file>

<file path=ppt/slides/_rels/slide5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18.png"/><Relationship Id="rId1" Type="http://schemas.openxmlformats.org/officeDocument/2006/relationships/slideLayout" Target="../slideLayouts/slideLayout189.xml"/><Relationship Id="rId5" Type="http://schemas.openxmlformats.org/officeDocument/2006/relationships/image" Target="../media/image66.svg"/><Relationship Id="rId4" Type="http://schemas.openxmlformats.org/officeDocument/2006/relationships/image" Target="../media/image65.png"/></Relationships>
</file>

<file path=ppt/slides/_rels/slide5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210.xml"/><Relationship Id="rId4" Type="http://schemas.openxmlformats.org/officeDocument/2006/relationships/image" Target="../media/image131.png"/></Relationships>
</file>

<file path=ppt/slides/_rels/slide5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133.svg"/><Relationship Id="rId7" Type="http://schemas.openxmlformats.org/officeDocument/2006/relationships/image" Target="../media/image137.svg"/><Relationship Id="rId2" Type="http://schemas.openxmlformats.org/officeDocument/2006/relationships/image" Target="../media/image132.png"/><Relationship Id="rId1" Type="http://schemas.openxmlformats.org/officeDocument/2006/relationships/slideLayout" Target="../slideLayouts/slideLayout202.xml"/><Relationship Id="rId6" Type="http://schemas.openxmlformats.org/officeDocument/2006/relationships/image" Target="../media/image136.png"/><Relationship Id="rId5" Type="http://schemas.openxmlformats.org/officeDocument/2006/relationships/image" Target="../media/image135.svg"/><Relationship Id="rId4" Type="http://schemas.openxmlformats.org/officeDocument/2006/relationships/image" Target="../media/image134.png"/><Relationship Id="rId9" Type="http://schemas.openxmlformats.org/officeDocument/2006/relationships/image" Target="../media/image66.svg"/></Relationships>
</file>

<file path=ppt/slides/_rels/slide5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18.png"/><Relationship Id="rId1" Type="http://schemas.openxmlformats.org/officeDocument/2006/relationships/slideLayout" Target="../slideLayouts/slideLayout210.xml"/><Relationship Id="rId4" Type="http://schemas.openxmlformats.org/officeDocument/2006/relationships/image" Target="../media/image13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6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0.xml"/><Relationship Id="rId1" Type="http://schemas.openxmlformats.org/officeDocument/2006/relationships/slideLayout" Target="../slideLayouts/slideLayout209.xml"/><Relationship Id="rId5" Type="http://schemas.openxmlformats.org/officeDocument/2006/relationships/image" Target="../media/image66.svg"/><Relationship Id="rId4" Type="http://schemas.openxmlformats.org/officeDocument/2006/relationships/image" Target="../media/image65.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19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8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189.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71CBC-319D-4D45-A26C-BB24B2AB2991}"/>
              </a:ext>
            </a:extLst>
          </p:cNvPr>
          <p:cNvSpPr>
            <a:spLocks noGrp="1"/>
          </p:cNvSpPr>
          <p:nvPr>
            <p:ph type="title"/>
          </p:nvPr>
        </p:nvSpPr>
        <p:spPr/>
        <p:txBody>
          <a:bodyPr/>
          <a:lstStyle/>
          <a:p>
            <a:r>
              <a:rPr lang="en-US" dirty="0"/>
              <a:t>For the Presenter</a:t>
            </a:r>
          </a:p>
        </p:txBody>
      </p:sp>
      <p:sp>
        <p:nvSpPr>
          <p:cNvPr id="3" name="Text Placeholder 2">
            <a:extLst>
              <a:ext uri="{FF2B5EF4-FFF2-40B4-BE49-F238E27FC236}">
                <a16:creationId xmlns:a16="http://schemas.microsoft.com/office/drawing/2014/main" id="{7C761316-DE71-4146-ACDA-EA7F4FD4D4EC}"/>
              </a:ext>
            </a:extLst>
          </p:cNvPr>
          <p:cNvSpPr>
            <a:spLocks noGrp="1"/>
          </p:cNvSpPr>
          <p:nvPr>
            <p:ph type="body" sz="quarter" idx="10"/>
          </p:nvPr>
        </p:nvSpPr>
        <p:spPr>
          <a:xfrm>
            <a:off x="585699" y="1836586"/>
            <a:ext cx="11018520" cy="1612768"/>
          </a:xfrm>
        </p:spPr>
        <p:txBody>
          <a:bodyPr/>
          <a:lstStyle/>
          <a:p>
            <a:r>
              <a:rPr lang="en-US" dirty="0"/>
              <a:t>This is designed to be delivered in person</a:t>
            </a:r>
          </a:p>
          <a:p>
            <a:r>
              <a:rPr lang="en-US" dirty="0"/>
              <a:t>Need to get Azure Passes in advance - </a:t>
            </a:r>
            <a:r>
              <a:rPr lang="en-US" dirty="0">
                <a:hlinkClick r:id="rId2" tooltip="https://requests.microsoftazurepass.com/onetime/request"/>
              </a:rPr>
              <a:t>https://requests.microsoftazurepass.com/OneTime/Request</a:t>
            </a:r>
            <a:endParaRPr lang="en-US" dirty="0"/>
          </a:p>
          <a:p>
            <a:endParaRPr lang="en-US" dirty="0"/>
          </a:p>
          <a:p>
            <a:endParaRPr lang="en-US" dirty="0"/>
          </a:p>
        </p:txBody>
      </p:sp>
    </p:spTree>
    <p:extLst>
      <p:ext uri="{BB962C8B-B14F-4D97-AF65-F5344CB8AC3E}">
        <p14:creationId xmlns:p14="http://schemas.microsoft.com/office/powerpoint/2010/main" val="31746126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basic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533398"/>
            <a:ext cx="8738753" cy="1320800"/>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dirty="0">
                  <a:solidFill>
                    <a:schemeClr val="accent4"/>
                  </a:solidFill>
                  <a:latin typeface="Segoe UI Semibold"/>
                </a:rPr>
                <a:t>Enrollment</a:t>
              </a:r>
            </a:p>
            <a:p>
              <a:pPr algn="l" defTabSz="914192">
                <a:defRPr/>
              </a:pPr>
              <a:r>
                <a:rPr lang="en-US" dirty="0">
                  <a:solidFill>
                    <a:schemeClr val="accent4"/>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solidFill>
                    <a:schemeClr val="accent4"/>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4048370"/>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dirty="0">
                <a:solidFill>
                  <a:schemeClr val="accent4"/>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628098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nip Diagonal Corner Rectangle 34"/>
          <p:cNvSpPr/>
          <p:nvPr/>
        </p:nvSpPr>
        <p:spPr>
          <a:xfrm>
            <a:off x="333287" y="3467068"/>
            <a:ext cx="11717106" cy="1163545"/>
          </a:xfrm>
          <a:prstGeom prst="snip2DiagRect">
            <a:avLst/>
          </a:prstGeom>
          <a:solidFill>
            <a:schemeClr val="accent5">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0121" indent="-280121">
              <a:buFont typeface="Arial" panose="020B0604020202020204" pitchFamily="34" charset="0"/>
              <a:buChar char="•"/>
            </a:pPr>
            <a:r>
              <a:rPr lang="en-US" sz="1568" dirty="0">
                <a:solidFill>
                  <a:schemeClr val="tx2"/>
                </a:solidFill>
              </a:rPr>
              <a:t>Ability to create subscriptions</a:t>
            </a:r>
          </a:p>
          <a:p>
            <a:pPr marL="280121" indent="-280121">
              <a:buFont typeface="Arial" panose="020B0604020202020204" pitchFamily="34" charset="0"/>
              <a:buChar char="•"/>
            </a:pPr>
            <a:r>
              <a:rPr lang="en-US" sz="1568" dirty="0">
                <a:solidFill>
                  <a:schemeClr val="tx2"/>
                </a:solidFill>
              </a:rPr>
              <a:t>Are default owners of subscriptions</a:t>
            </a:r>
          </a:p>
        </p:txBody>
      </p:sp>
      <p:sp>
        <p:nvSpPr>
          <p:cNvPr id="32" name="Snip Diagonal Corner Rectangle 31"/>
          <p:cNvSpPr/>
          <p:nvPr/>
        </p:nvSpPr>
        <p:spPr>
          <a:xfrm>
            <a:off x="333285" y="1125182"/>
            <a:ext cx="11717108" cy="1185331"/>
          </a:xfrm>
          <a:prstGeom prst="snip2DiagRect">
            <a:avLst/>
          </a:prstGeom>
          <a:solidFill>
            <a:schemeClr val="accent6">
              <a:lumMod val="75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0121" indent="-280121">
              <a:buFont typeface="Arial" panose="020B0604020202020204" pitchFamily="34" charset="0"/>
              <a:buChar char="•"/>
            </a:pPr>
            <a:r>
              <a:rPr lang="en-US" sz="1765" dirty="0">
                <a:solidFill>
                  <a:schemeClr val="tx2"/>
                </a:solidFill>
              </a:rPr>
              <a:t>Enterprise Agreement</a:t>
            </a:r>
          </a:p>
          <a:p>
            <a:pPr marL="280121" indent="-280121">
              <a:buFont typeface="Arial" panose="020B0604020202020204" pitchFamily="34" charset="0"/>
              <a:buChar char="•"/>
            </a:pPr>
            <a:r>
              <a:rPr lang="en-US" sz="1765" dirty="0">
                <a:solidFill>
                  <a:schemeClr val="tx2"/>
                </a:solidFill>
              </a:rPr>
              <a:t>Invoice Level</a:t>
            </a:r>
          </a:p>
          <a:p>
            <a:pPr marL="280121" indent="-280121">
              <a:buFont typeface="Arial" panose="020B0604020202020204" pitchFamily="34" charset="0"/>
              <a:buChar char="•"/>
            </a:pPr>
            <a:r>
              <a:rPr lang="en-US" sz="1765" dirty="0">
                <a:solidFill>
                  <a:schemeClr val="tx2"/>
                </a:solidFill>
              </a:rPr>
              <a:t>EA Admins can create department + account owners</a:t>
            </a:r>
            <a:endParaRPr lang="en-US" sz="2745" dirty="0">
              <a:solidFill>
                <a:schemeClr val="tx2"/>
              </a:solidFill>
            </a:endParaRPr>
          </a:p>
        </p:txBody>
      </p:sp>
      <p:sp>
        <p:nvSpPr>
          <p:cNvPr id="31" name="Snip Diagonal Corner Rectangle 32">
            <a:extLst>
              <a:ext uri="{FF2B5EF4-FFF2-40B4-BE49-F238E27FC236}">
                <a16:creationId xmlns:a16="http://schemas.microsoft.com/office/drawing/2014/main" id="{706E392C-4E9B-4C17-A8DA-64197406AC1C}"/>
              </a:ext>
            </a:extLst>
          </p:cNvPr>
          <p:cNvSpPr/>
          <p:nvPr/>
        </p:nvSpPr>
        <p:spPr>
          <a:xfrm>
            <a:off x="333285" y="5578158"/>
            <a:ext cx="11717106" cy="869301"/>
          </a:xfrm>
          <a:prstGeom prst="snip2DiagRect">
            <a:avLst/>
          </a:prstGeom>
          <a:solidFill>
            <a:schemeClr val="accent6">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0121" indent="-280121">
              <a:buFont typeface="Arial" panose="020B0604020202020204" pitchFamily="34" charset="0"/>
              <a:buChar char="•"/>
            </a:pPr>
            <a:r>
              <a:rPr lang="en-US" sz="1568" dirty="0">
                <a:solidFill>
                  <a:schemeClr val="tx2"/>
                </a:solidFill>
              </a:rPr>
              <a:t>Charges incurred within</a:t>
            </a:r>
          </a:p>
          <a:p>
            <a:pPr marL="280121" indent="-280121">
              <a:buFont typeface="Arial" panose="020B0604020202020204" pitchFamily="34" charset="0"/>
              <a:buChar char="•"/>
            </a:pPr>
            <a:r>
              <a:rPr lang="en-US" sz="1568" dirty="0">
                <a:solidFill>
                  <a:schemeClr val="tx2"/>
                </a:solidFill>
              </a:rPr>
              <a:t>Resources must be in an RG</a:t>
            </a:r>
          </a:p>
          <a:p>
            <a:pPr marL="280121" indent="-280121">
              <a:buFont typeface="Arial" panose="020B0604020202020204" pitchFamily="34" charset="0"/>
              <a:buChar char="•"/>
            </a:pPr>
            <a:r>
              <a:rPr lang="en-US" sz="1568" dirty="0">
                <a:solidFill>
                  <a:schemeClr val="tx2"/>
                </a:solidFill>
              </a:rPr>
              <a:t>Group resources based on lifecycle</a:t>
            </a:r>
          </a:p>
          <a:p>
            <a:pPr marL="280121" indent="-280121">
              <a:buFont typeface="Arial" panose="020B0604020202020204" pitchFamily="34" charset="0"/>
              <a:buChar char="•"/>
            </a:pPr>
            <a:endParaRPr lang="en-US" sz="1568" dirty="0">
              <a:solidFill>
                <a:schemeClr val="tx2"/>
              </a:solidFill>
            </a:endParaRPr>
          </a:p>
        </p:txBody>
      </p:sp>
      <p:graphicFrame>
        <p:nvGraphicFramePr>
          <p:cNvPr id="61" name="Diagram 60"/>
          <p:cNvGraphicFramePr/>
          <p:nvPr>
            <p:extLst>
              <p:ext uri="{D42A27DB-BD31-4B8C-83A1-F6EECF244321}">
                <p14:modId xmlns:p14="http://schemas.microsoft.com/office/powerpoint/2010/main" val="1595488466"/>
              </p:ext>
            </p:extLst>
          </p:nvPr>
        </p:nvGraphicFramePr>
        <p:xfrm>
          <a:off x="813357" y="1302881"/>
          <a:ext cx="11940002" cy="5371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7" name="Snip Diagonal Corner Rectangle 26"/>
          <p:cNvSpPr/>
          <p:nvPr/>
        </p:nvSpPr>
        <p:spPr>
          <a:xfrm>
            <a:off x="333285" y="2355301"/>
            <a:ext cx="11717106" cy="1131610"/>
          </a:xfrm>
          <a:prstGeom prst="snip2DiagRect">
            <a:avLst/>
          </a:prstGeom>
          <a:solidFill>
            <a:schemeClr val="accent3">
              <a:lumMod val="75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0121" indent="-280121">
              <a:buFont typeface="Arial" panose="020B0604020202020204" pitchFamily="34" charset="0"/>
              <a:buChar char="•"/>
            </a:pPr>
            <a:r>
              <a:rPr lang="en-US" sz="1765" i="1" dirty="0">
                <a:solidFill>
                  <a:schemeClr val="tx2"/>
                </a:solidFill>
              </a:rPr>
              <a:t>Optional</a:t>
            </a:r>
            <a:r>
              <a:rPr lang="en-US" sz="1765" dirty="0">
                <a:solidFill>
                  <a:schemeClr val="tx2"/>
                </a:solidFill>
              </a:rPr>
              <a:t> layer in the hierarchy</a:t>
            </a:r>
          </a:p>
          <a:p>
            <a:pPr marL="280121" indent="-280121">
              <a:buFont typeface="Arial" panose="020B0604020202020204" pitchFamily="34" charset="0"/>
              <a:buChar char="•"/>
            </a:pPr>
            <a:r>
              <a:rPr lang="en-US" sz="1765" dirty="0">
                <a:solidFill>
                  <a:schemeClr val="tx2"/>
                </a:solidFill>
              </a:rPr>
              <a:t>Can create Account Owners</a:t>
            </a:r>
          </a:p>
        </p:txBody>
      </p:sp>
      <p:sp>
        <p:nvSpPr>
          <p:cNvPr id="33" name="Snip Diagonal Corner Rectangle 32"/>
          <p:cNvSpPr/>
          <p:nvPr/>
        </p:nvSpPr>
        <p:spPr>
          <a:xfrm>
            <a:off x="333285" y="4685819"/>
            <a:ext cx="11717106" cy="869301"/>
          </a:xfrm>
          <a:prstGeom prst="snip2DiagRect">
            <a:avLst/>
          </a:prstGeom>
          <a:solidFill>
            <a:schemeClr val="accent4">
              <a:lumMod val="7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0121" indent="-280121">
              <a:buFont typeface="Arial" panose="020B0604020202020204" pitchFamily="34" charset="0"/>
              <a:buChar char="•"/>
            </a:pPr>
            <a:r>
              <a:rPr lang="en-US" sz="1568" dirty="0">
                <a:solidFill>
                  <a:schemeClr val="tx2"/>
                </a:solidFill>
              </a:rPr>
              <a:t>Charges incurred within</a:t>
            </a:r>
          </a:p>
          <a:p>
            <a:pPr marL="280121" indent="-280121">
              <a:buFont typeface="Arial" panose="020B0604020202020204" pitchFamily="34" charset="0"/>
              <a:buChar char="•"/>
            </a:pPr>
            <a:r>
              <a:rPr lang="en-US" sz="1568" dirty="0">
                <a:solidFill>
                  <a:schemeClr val="tx2"/>
                </a:solidFill>
              </a:rPr>
              <a:t>RBAC and Billing Unit</a:t>
            </a:r>
          </a:p>
        </p:txBody>
      </p:sp>
      <p:sp>
        <p:nvSpPr>
          <p:cNvPr id="2" name="Title 1"/>
          <p:cNvSpPr>
            <a:spLocks noGrp="1"/>
          </p:cNvSpPr>
          <p:nvPr>
            <p:ph type="title" idx="4294967295"/>
          </p:nvPr>
        </p:nvSpPr>
        <p:spPr>
          <a:xfrm>
            <a:off x="474663" y="354013"/>
            <a:ext cx="11717337" cy="439737"/>
          </a:xfrm>
        </p:spPr>
        <p:txBody>
          <a:bodyPr>
            <a:noAutofit/>
          </a:bodyPr>
          <a:lstStyle/>
          <a:p>
            <a:r>
              <a:rPr lang="en-US" sz="2745" dirty="0">
                <a:solidFill>
                  <a:schemeClr val="tx1"/>
                </a:solidFill>
              </a:rPr>
              <a:t>Starting at the top…..</a:t>
            </a:r>
          </a:p>
        </p:txBody>
      </p:sp>
      <p:cxnSp>
        <p:nvCxnSpPr>
          <p:cNvPr id="9" name="Straight Connector 8"/>
          <p:cNvCxnSpPr>
            <a:cxnSpLocks/>
          </p:cNvCxnSpPr>
          <p:nvPr/>
        </p:nvCxnSpPr>
        <p:spPr>
          <a:xfrm>
            <a:off x="7954174" y="1947953"/>
            <a:ext cx="1324714" cy="177838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1824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544F6-4192-488D-A581-F1529A5B5465}"/>
              </a:ext>
            </a:extLst>
          </p:cNvPr>
          <p:cNvSpPr>
            <a:spLocks noGrp="1"/>
          </p:cNvSpPr>
          <p:nvPr>
            <p:ph type="title"/>
          </p:nvPr>
        </p:nvSpPr>
        <p:spPr/>
        <p:txBody>
          <a:bodyPr/>
          <a:lstStyle/>
          <a:p>
            <a:r>
              <a:rPr lang="en-US" dirty="0"/>
              <a:t>Making Choices….</a:t>
            </a:r>
          </a:p>
        </p:txBody>
      </p:sp>
      <p:sp>
        <p:nvSpPr>
          <p:cNvPr id="3" name="Footer Placeholder 2">
            <a:extLst>
              <a:ext uri="{FF2B5EF4-FFF2-40B4-BE49-F238E27FC236}">
                <a16:creationId xmlns:a16="http://schemas.microsoft.com/office/drawing/2014/main" id="{F6F8053B-4305-426D-B0F8-62141BDB6C6C}"/>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TextBox 3">
            <a:extLst>
              <a:ext uri="{FF2B5EF4-FFF2-40B4-BE49-F238E27FC236}">
                <a16:creationId xmlns:a16="http://schemas.microsoft.com/office/drawing/2014/main" id="{7208F4B7-DF0D-42E0-A0EB-7AECBAC53050}"/>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Multiple Enrollments versus Subscriptions</a:t>
            </a:r>
          </a:p>
        </p:txBody>
      </p:sp>
      <p:graphicFrame>
        <p:nvGraphicFramePr>
          <p:cNvPr id="5" name="Table 4">
            <a:extLst>
              <a:ext uri="{FF2B5EF4-FFF2-40B4-BE49-F238E27FC236}">
                <a16:creationId xmlns:a16="http://schemas.microsoft.com/office/drawing/2014/main" id="{6D05A51B-E11E-4B35-8B35-CC8675264098}"/>
              </a:ext>
            </a:extLst>
          </p:cNvPr>
          <p:cNvGraphicFramePr>
            <a:graphicFrameLocks noGrp="1"/>
          </p:cNvGraphicFramePr>
          <p:nvPr>
            <p:extLst>
              <p:ext uri="{D42A27DB-BD31-4B8C-83A1-F6EECF244321}">
                <p14:modId xmlns:p14="http://schemas.microsoft.com/office/powerpoint/2010/main" val="4204991607"/>
              </p:ext>
            </p:extLst>
          </p:nvPr>
        </p:nvGraphicFramePr>
        <p:xfrm>
          <a:off x="455995" y="1974800"/>
          <a:ext cx="11346932" cy="2911696"/>
        </p:xfrm>
        <a:graphic>
          <a:graphicData uri="http://schemas.openxmlformats.org/drawingml/2006/table">
            <a:tbl>
              <a:tblPr firstRow="1" bandRow="1">
                <a:tableStyleId>{10A1B5D5-9B99-4C35-A422-299274C87663}</a:tableStyleId>
              </a:tblPr>
              <a:tblGrid>
                <a:gridCol w="3768823">
                  <a:extLst>
                    <a:ext uri="{9D8B030D-6E8A-4147-A177-3AD203B41FA5}">
                      <a16:colId xmlns:a16="http://schemas.microsoft.com/office/drawing/2014/main" val="4012766074"/>
                    </a:ext>
                  </a:extLst>
                </a:gridCol>
                <a:gridCol w="3768823">
                  <a:extLst>
                    <a:ext uri="{9D8B030D-6E8A-4147-A177-3AD203B41FA5}">
                      <a16:colId xmlns:a16="http://schemas.microsoft.com/office/drawing/2014/main" val="4188148750"/>
                    </a:ext>
                  </a:extLst>
                </a:gridCol>
                <a:gridCol w="3809286">
                  <a:extLst>
                    <a:ext uri="{9D8B030D-6E8A-4147-A177-3AD203B41FA5}">
                      <a16:colId xmlns:a16="http://schemas.microsoft.com/office/drawing/2014/main" val="696347040"/>
                    </a:ext>
                  </a:extLst>
                </a:gridCol>
              </a:tblGrid>
              <a:tr h="363550">
                <a:tc>
                  <a:txBody>
                    <a:bodyPr/>
                    <a:lstStyle/>
                    <a:p>
                      <a:endParaRPr lang="en-US" sz="1800" dirty="0"/>
                    </a:p>
                  </a:txBody>
                  <a:tcPr marL="89642" marR="89642" marT="44821" marB="44821"/>
                </a:tc>
                <a:tc>
                  <a:txBody>
                    <a:bodyPr/>
                    <a:lstStyle/>
                    <a:p>
                      <a:pPr algn="ctr"/>
                      <a:r>
                        <a:rPr lang="en-US" sz="1800" dirty="0"/>
                        <a:t>Multiple Subscriptions</a:t>
                      </a:r>
                    </a:p>
                  </a:txBody>
                  <a:tcPr marL="89642" marR="89642" marT="44821" marB="44821"/>
                </a:tc>
                <a:tc>
                  <a:txBody>
                    <a:bodyPr/>
                    <a:lstStyle/>
                    <a:p>
                      <a:pPr algn="ctr"/>
                      <a:r>
                        <a:rPr lang="en-US" sz="1800" dirty="0"/>
                        <a:t>Enrollments</a:t>
                      </a:r>
                    </a:p>
                  </a:txBody>
                  <a:tcPr marL="89642" marR="89642" marT="44821" marB="44821"/>
                </a:tc>
                <a:extLst>
                  <a:ext uri="{0D108BD9-81ED-4DB2-BD59-A6C34878D82A}">
                    <a16:rowId xmlns:a16="http://schemas.microsoft.com/office/drawing/2014/main" val="2597244758"/>
                  </a:ext>
                </a:extLst>
              </a:tr>
              <a:tr h="363550">
                <a:tc>
                  <a:txBody>
                    <a:bodyPr/>
                    <a:lstStyle/>
                    <a:p>
                      <a:r>
                        <a:rPr lang="en-US" sz="1800" dirty="0"/>
                        <a:t>Separate Invoice</a:t>
                      </a:r>
                    </a:p>
                  </a:txBody>
                  <a:tcPr marL="89642" marR="89642" marT="44821" marB="44821"/>
                </a:tc>
                <a:tc>
                  <a:txBody>
                    <a:bodyPr/>
                    <a:lstStyle/>
                    <a:p>
                      <a:pPr algn="ctr"/>
                      <a:endParaRPr lang="en-US" sz="1800" dirty="0"/>
                    </a:p>
                  </a:txBody>
                  <a:tcPr marL="89642" marR="89642" marT="44821" marB="44821"/>
                </a:tc>
                <a:tc>
                  <a:txBody>
                    <a:bodyPr/>
                    <a:lstStyle/>
                    <a:p>
                      <a:pPr algn="ct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74510603"/>
                  </a:ext>
                </a:extLst>
              </a:tr>
              <a:tr h="363550">
                <a:tc>
                  <a:txBody>
                    <a:bodyPr/>
                    <a:lstStyle/>
                    <a:p>
                      <a:r>
                        <a:rPr lang="en-US" sz="1800" dirty="0"/>
                        <a:t>Able to view charges at this level</a:t>
                      </a:r>
                    </a:p>
                  </a:txBody>
                  <a:tcPr marL="89642" marR="89642" marT="44821" marB="44821"/>
                </a:tc>
                <a:tc>
                  <a:txBody>
                    <a:bodyPr/>
                    <a:lstStyle/>
                    <a:p>
                      <a:pPr algn="ctr"/>
                      <a:r>
                        <a:rPr lang="en-US" sz="1800" dirty="0">
                          <a:sym typeface="Wingdings" panose="05000000000000000000" pitchFamily="2" charset="2"/>
                        </a:rPr>
                        <a:t></a:t>
                      </a:r>
                      <a:endParaRPr lang="en-US" sz="1800" dirty="0"/>
                    </a:p>
                  </a:txBody>
                  <a:tcPr marL="89642" marR="89642" marT="44821" marB="44821"/>
                </a:tc>
                <a:tc>
                  <a:txBody>
                    <a:bodyPr/>
                    <a:lstStyle/>
                    <a:p>
                      <a:pPr algn="ctr"/>
                      <a:r>
                        <a:rPr lang="en-US" sz="1800" dirty="0">
                          <a:sym typeface="Wingdings" panose="05000000000000000000" pitchFamily="2" charset="2"/>
                        </a:rPr>
                        <a:t></a:t>
                      </a:r>
                      <a:endParaRPr lang="en-US" sz="1800" b="1" dirty="0"/>
                    </a:p>
                  </a:txBody>
                  <a:tcPr marL="89642" marR="89642" marT="44821" marB="44821"/>
                </a:tc>
                <a:extLst>
                  <a:ext uri="{0D108BD9-81ED-4DB2-BD59-A6C34878D82A}">
                    <a16:rowId xmlns:a16="http://schemas.microsoft.com/office/drawing/2014/main" val="3123787128"/>
                  </a:ext>
                </a:extLst>
              </a:tr>
              <a:tr h="363550">
                <a:tc>
                  <a:txBody>
                    <a:bodyPr/>
                    <a:lstStyle/>
                    <a:p>
                      <a:r>
                        <a:rPr lang="en-US" sz="1800" dirty="0"/>
                        <a:t>Can use unique AAD Tenant</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1861005577"/>
                  </a:ext>
                </a:extLst>
              </a:tr>
              <a:tr h="363550">
                <a:tc>
                  <a:txBody>
                    <a:bodyPr/>
                    <a:lstStyle/>
                    <a:p>
                      <a:r>
                        <a:rPr lang="en-US" sz="1800" dirty="0"/>
                        <a:t>Can view charges in EA Portal</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268619619"/>
                  </a:ext>
                </a:extLst>
              </a:tr>
              <a:tr h="363550">
                <a:tc>
                  <a:txBody>
                    <a:bodyPr/>
                    <a:lstStyle/>
                    <a:p>
                      <a:r>
                        <a:rPr lang="en-US" sz="1800" dirty="0"/>
                        <a:t>Can share an ExpressRoute</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1340318956"/>
                  </a:ext>
                </a:extLst>
              </a:tr>
              <a:tr h="363550">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dirty="0"/>
                        <a:t>Simple to Administer</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algn="ctr"/>
                      <a:endParaRPr lang="en-US" sz="1800" dirty="0"/>
                    </a:p>
                  </a:txBody>
                  <a:tcPr marL="89642" marR="89642" marT="44821" marB="44821"/>
                </a:tc>
                <a:extLst>
                  <a:ext uri="{0D108BD9-81ED-4DB2-BD59-A6C34878D82A}">
                    <a16:rowId xmlns:a16="http://schemas.microsoft.com/office/drawing/2014/main" val="3831859673"/>
                  </a:ext>
                </a:extLst>
              </a:tr>
              <a:tr h="363550">
                <a:tc>
                  <a:txBody>
                    <a:bodyPr/>
                    <a:lstStyle/>
                    <a:p>
                      <a:endParaRPr lang="en-US" sz="1800"/>
                    </a:p>
                  </a:txBody>
                  <a:tcPr marL="89642" marR="89642" marT="44821" marB="44821"/>
                </a:tc>
                <a:tc>
                  <a:txBody>
                    <a:bodyPr/>
                    <a:lstStyle/>
                    <a:p>
                      <a:pPr algn="ctr"/>
                      <a:endParaRPr lang="en-US" sz="1800"/>
                    </a:p>
                  </a:txBody>
                  <a:tcPr marL="89642" marR="89642" marT="44821" marB="44821"/>
                </a:tc>
                <a:tc>
                  <a:txBody>
                    <a:bodyPr/>
                    <a:lstStyle/>
                    <a:p>
                      <a:pPr algn="ctr"/>
                      <a:endParaRPr lang="en-US" sz="1800" dirty="0"/>
                    </a:p>
                  </a:txBody>
                  <a:tcPr marL="89642" marR="89642" marT="44821" marB="44821"/>
                </a:tc>
                <a:extLst>
                  <a:ext uri="{0D108BD9-81ED-4DB2-BD59-A6C34878D82A}">
                    <a16:rowId xmlns:a16="http://schemas.microsoft.com/office/drawing/2014/main" val="3885692294"/>
                  </a:ext>
                </a:extLst>
              </a:tr>
            </a:tbl>
          </a:graphicData>
        </a:graphic>
      </p:graphicFrame>
    </p:spTree>
    <p:extLst>
      <p:ext uri="{BB962C8B-B14F-4D97-AF65-F5344CB8AC3E}">
        <p14:creationId xmlns:p14="http://schemas.microsoft.com/office/powerpoint/2010/main" val="409196686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B2A83-F955-446E-96AD-C3581E2E04E3}"/>
              </a:ext>
            </a:extLst>
          </p:cNvPr>
          <p:cNvSpPr>
            <a:spLocks noGrp="1"/>
          </p:cNvSpPr>
          <p:nvPr>
            <p:ph type="title"/>
          </p:nvPr>
        </p:nvSpPr>
        <p:spPr/>
        <p:txBody>
          <a:bodyPr/>
          <a:lstStyle/>
          <a:p>
            <a:r>
              <a:rPr lang="en-US" dirty="0"/>
              <a:t>Making Choices….</a:t>
            </a:r>
          </a:p>
        </p:txBody>
      </p:sp>
      <p:sp>
        <p:nvSpPr>
          <p:cNvPr id="3" name="Footer Placeholder 2">
            <a:extLst>
              <a:ext uri="{FF2B5EF4-FFF2-40B4-BE49-F238E27FC236}">
                <a16:creationId xmlns:a16="http://schemas.microsoft.com/office/drawing/2014/main" id="{3F154151-3143-4E4E-AA3F-19F0F6FB1358}"/>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TextBox 3">
            <a:extLst>
              <a:ext uri="{FF2B5EF4-FFF2-40B4-BE49-F238E27FC236}">
                <a16:creationId xmlns:a16="http://schemas.microsoft.com/office/drawing/2014/main" id="{38507308-8C74-40DD-8942-3E6D978E008C}"/>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Resource Groups versus Subscriptions</a:t>
            </a:r>
          </a:p>
        </p:txBody>
      </p:sp>
      <p:graphicFrame>
        <p:nvGraphicFramePr>
          <p:cNvPr id="5" name="Table 4">
            <a:extLst>
              <a:ext uri="{FF2B5EF4-FFF2-40B4-BE49-F238E27FC236}">
                <a16:creationId xmlns:a16="http://schemas.microsoft.com/office/drawing/2014/main" id="{333B5173-1318-403E-A060-CC1D93DEEFC6}"/>
              </a:ext>
            </a:extLst>
          </p:cNvPr>
          <p:cNvGraphicFramePr>
            <a:graphicFrameLocks noGrp="1"/>
          </p:cNvGraphicFramePr>
          <p:nvPr>
            <p:extLst>
              <p:ext uri="{D42A27DB-BD31-4B8C-83A1-F6EECF244321}">
                <p14:modId xmlns:p14="http://schemas.microsoft.com/office/powerpoint/2010/main" val="445475295"/>
              </p:ext>
            </p:extLst>
          </p:nvPr>
        </p:nvGraphicFramePr>
        <p:xfrm>
          <a:off x="442765" y="2071510"/>
          <a:ext cx="11306469" cy="4293140"/>
        </p:xfrm>
        <a:graphic>
          <a:graphicData uri="http://schemas.openxmlformats.org/drawingml/2006/table">
            <a:tbl>
              <a:tblPr firstRow="1" bandRow="1">
                <a:tableStyleId>{10A1B5D5-9B99-4C35-A422-299274C87663}</a:tableStyleId>
              </a:tblPr>
              <a:tblGrid>
                <a:gridCol w="4160832">
                  <a:extLst>
                    <a:ext uri="{9D8B030D-6E8A-4147-A177-3AD203B41FA5}">
                      <a16:colId xmlns:a16="http://schemas.microsoft.com/office/drawing/2014/main" val="2448876512"/>
                    </a:ext>
                  </a:extLst>
                </a:gridCol>
                <a:gridCol w="3014277">
                  <a:extLst>
                    <a:ext uri="{9D8B030D-6E8A-4147-A177-3AD203B41FA5}">
                      <a16:colId xmlns:a16="http://schemas.microsoft.com/office/drawing/2014/main" val="2439359360"/>
                    </a:ext>
                  </a:extLst>
                </a:gridCol>
                <a:gridCol w="4131360">
                  <a:extLst>
                    <a:ext uri="{9D8B030D-6E8A-4147-A177-3AD203B41FA5}">
                      <a16:colId xmlns:a16="http://schemas.microsoft.com/office/drawing/2014/main" val="3209392479"/>
                    </a:ext>
                  </a:extLst>
                </a:gridCol>
              </a:tblGrid>
              <a:tr h="382175">
                <a:tc>
                  <a:txBody>
                    <a:bodyPr/>
                    <a:lstStyle/>
                    <a:p>
                      <a:endParaRPr lang="en-US" sz="1800" dirty="0"/>
                    </a:p>
                  </a:txBody>
                  <a:tcPr marL="89642" marR="89642" marT="44821" marB="44821"/>
                </a:tc>
                <a:tc>
                  <a:txBody>
                    <a:bodyPr/>
                    <a:lstStyle/>
                    <a:p>
                      <a:pPr algn="ctr"/>
                      <a:r>
                        <a:rPr lang="en-US" sz="1800" dirty="0"/>
                        <a:t>Resource Groups</a:t>
                      </a:r>
                    </a:p>
                  </a:txBody>
                  <a:tcPr marL="89642" marR="89642" marT="44821" marB="44821"/>
                </a:tc>
                <a:tc>
                  <a:txBody>
                    <a:bodyPr/>
                    <a:lstStyle/>
                    <a:p>
                      <a:pPr algn="ctr"/>
                      <a:r>
                        <a:rPr lang="en-US" sz="1800" dirty="0"/>
                        <a:t>Subscriptions</a:t>
                      </a:r>
                    </a:p>
                  </a:txBody>
                  <a:tcPr marL="89642" marR="89642" marT="44821" marB="44821"/>
                </a:tc>
                <a:extLst>
                  <a:ext uri="{0D108BD9-81ED-4DB2-BD59-A6C34878D82A}">
                    <a16:rowId xmlns:a16="http://schemas.microsoft.com/office/drawing/2014/main" val="1739827060"/>
                  </a:ext>
                </a:extLst>
              </a:tr>
              <a:tr h="382175">
                <a:tc>
                  <a:txBody>
                    <a:bodyPr/>
                    <a:lstStyle/>
                    <a:p>
                      <a:r>
                        <a:rPr lang="en-US" sz="1800" dirty="0"/>
                        <a:t>RBAC supported</a:t>
                      </a:r>
                    </a:p>
                  </a:txBody>
                  <a:tcPr marL="89642" marR="89642" marT="44821" marB="44821"/>
                </a:tc>
                <a:tc>
                  <a:txBody>
                    <a:bodyPr/>
                    <a:lstStyle/>
                    <a:p>
                      <a:pPr algn="ct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200285637"/>
                  </a:ext>
                </a:extLst>
              </a:tr>
              <a:tr h="382175">
                <a:tc>
                  <a:txBody>
                    <a:bodyPr/>
                    <a:lstStyle/>
                    <a:p>
                      <a:r>
                        <a:rPr lang="en-US" sz="1800" dirty="0"/>
                        <a:t>Easy to view Billing </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 </a:t>
                      </a:r>
                      <a:r>
                        <a:rPr lang="en-US" sz="1800" dirty="0"/>
                        <a:t> (in Azure portal only)</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 </a:t>
                      </a:r>
                      <a:r>
                        <a:rPr lang="en-US" sz="1800" dirty="0"/>
                        <a:t>(in EA and Azure portal)</a:t>
                      </a:r>
                    </a:p>
                  </a:txBody>
                  <a:tcPr marL="89642" marR="89642" marT="44821" marB="44821"/>
                </a:tc>
                <a:extLst>
                  <a:ext uri="{0D108BD9-81ED-4DB2-BD59-A6C34878D82A}">
                    <a16:rowId xmlns:a16="http://schemas.microsoft.com/office/drawing/2014/main" val="3721736599"/>
                  </a:ext>
                </a:extLst>
              </a:tr>
              <a:tr h="680804">
                <a:tc>
                  <a:txBody>
                    <a:bodyPr/>
                    <a:lstStyle/>
                    <a:p>
                      <a:r>
                        <a:rPr lang="en-US" sz="1800" dirty="0"/>
                        <a:t>Resource can be shared across</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 (natively)</a:t>
                      </a:r>
                      <a:endParaRPr lang="en-US" sz="1800" dirty="0"/>
                    </a:p>
                  </a:txBody>
                  <a:tcPr marL="89642" marR="89642" marT="44821" marB="44821"/>
                </a:tc>
                <a:tc>
                  <a:txBody>
                    <a:bodyPr/>
                    <a:lstStyle/>
                    <a:p>
                      <a:pPr algn="ctr"/>
                      <a:r>
                        <a:rPr lang="en-US" sz="1800" dirty="0"/>
                        <a:t>Requires additional configuration and only some resources are supported</a:t>
                      </a:r>
                    </a:p>
                  </a:txBody>
                  <a:tcPr marL="89642" marR="89642" marT="44821" marB="44821"/>
                </a:tc>
                <a:extLst>
                  <a:ext uri="{0D108BD9-81ED-4DB2-BD59-A6C34878D82A}">
                    <a16:rowId xmlns:a16="http://schemas.microsoft.com/office/drawing/2014/main" val="122973245"/>
                  </a:ext>
                </a:extLst>
              </a:tr>
              <a:tr h="382175">
                <a:tc>
                  <a:txBody>
                    <a:bodyPr/>
                    <a:lstStyle/>
                    <a:p>
                      <a:r>
                        <a:rPr lang="en-US" sz="1800" dirty="0"/>
                        <a:t>Azure Policy supported</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1382144323"/>
                  </a:ext>
                </a:extLst>
              </a:tr>
              <a:tr h="382175">
                <a:tc>
                  <a:txBody>
                    <a:bodyPr/>
                    <a:lstStyle/>
                    <a:p>
                      <a:r>
                        <a:rPr lang="en-US" sz="1800" dirty="0"/>
                        <a:t>Best for Sandbox</a:t>
                      </a:r>
                    </a:p>
                  </a:txBody>
                  <a:tcPr marL="89642" marR="89642" marT="44821" marB="44821"/>
                </a:tc>
                <a:tc>
                  <a:txBody>
                    <a:bodyPr/>
                    <a:lstStyle/>
                    <a:p>
                      <a:pPr algn="ct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1157948049"/>
                  </a:ext>
                </a:extLst>
              </a:tr>
              <a:tr h="659643">
                <a:tc>
                  <a:txBody>
                    <a:bodyPr/>
                    <a:lstStyle/>
                    <a:p>
                      <a:r>
                        <a:rPr lang="en-US" sz="1800" dirty="0"/>
                        <a:t>Best for restricting access in a common environment (i.e. PROD)</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p>
                      <a:pPr algn="ctr"/>
                      <a:endParaRPr lang="en-US" sz="1800" dirty="0"/>
                    </a:p>
                  </a:txBody>
                  <a:tcPr marL="89642" marR="89642" marT="44821" marB="44821"/>
                </a:tc>
                <a:tc>
                  <a:txBody>
                    <a:bodyPr/>
                    <a:lstStyle/>
                    <a:p>
                      <a:pPr algn="ctr"/>
                      <a:endParaRPr lang="en-US" sz="1800" dirty="0"/>
                    </a:p>
                  </a:txBody>
                  <a:tcPr marL="89642" marR="89642" marT="44821" marB="44821"/>
                </a:tc>
                <a:extLst>
                  <a:ext uri="{0D108BD9-81ED-4DB2-BD59-A6C34878D82A}">
                    <a16:rowId xmlns:a16="http://schemas.microsoft.com/office/drawing/2014/main" val="2384866068"/>
                  </a:ext>
                </a:extLst>
              </a:tr>
              <a:tr h="659643">
                <a:tc>
                  <a:txBody>
                    <a:bodyPr/>
                    <a:lstStyle/>
                    <a:p>
                      <a:r>
                        <a:rPr lang="en-US" sz="1800" dirty="0"/>
                        <a:t>Simpler to Administer</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algn="ctr"/>
                      <a:r>
                        <a:rPr lang="en-US" sz="1800" dirty="0"/>
                        <a:t>Multiple subscriptions create administrative overhead</a:t>
                      </a:r>
                    </a:p>
                  </a:txBody>
                  <a:tcPr marL="89642" marR="89642" marT="44821" marB="44821"/>
                </a:tc>
                <a:extLst>
                  <a:ext uri="{0D108BD9-81ED-4DB2-BD59-A6C34878D82A}">
                    <a16:rowId xmlns:a16="http://schemas.microsoft.com/office/drawing/2014/main" val="2856967616"/>
                  </a:ext>
                </a:extLst>
              </a:tr>
              <a:tr h="382175">
                <a:tc>
                  <a:txBody>
                    <a:bodyPr/>
                    <a:lstStyle/>
                    <a:p>
                      <a:r>
                        <a:rPr lang="en-US" sz="1800" dirty="0"/>
                        <a:t>Can share a single ExpressRoute</a:t>
                      </a:r>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800" dirty="0">
                          <a:sym typeface="Wingdings" panose="05000000000000000000" pitchFamily="2" charset="2"/>
                        </a:rPr>
                        <a:t></a:t>
                      </a:r>
                      <a:endParaRPr lang="en-US" sz="1800" dirty="0"/>
                    </a:p>
                  </a:txBody>
                  <a:tcPr marL="89642" marR="89642" marT="44821" marB="44821"/>
                </a:tc>
                <a:extLst>
                  <a:ext uri="{0D108BD9-81ED-4DB2-BD59-A6C34878D82A}">
                    <a16:rowId xmlns:a16="http://schemas.microsoft.com/office/drawing/2014/main" val="450282658"/>
                  </a:ext>
                </a:extLst>
              </a:tr>
            </a:tbl>
          </a:graphicData>
        </a:graphic>
      </p:graphicFrame>
    </p:spTree>
    <p:extLst>
      <p:ext uri="{BB962C8B-B14F-4D97-AF65-F5344CB8AC3E}">
        <p14:creationId xmlns:p14="http://schemas.microsoft.com/office/powerpoint/2010/main" val="378804602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Department/Account Setup Options</a:t>
            </a:r>
          </a:p>
        </p:txBody>
      </p:sp>
      <p:grpSp>
        <p:nvGrpSpPr>
          <p:cNvPr id="3" name="Group 2"/>
          <p:cNvGrpSpPr/>
          <p:nvPr/>
        </p:nvGrpSpPr>
        <p:grpSpPr>
          <a:xfrm>
            <a:off x="848338" y="1855729"/>
            <a:ext cx="10568154" cy="3571647"/>
            <a:chOff x="977684" y="1838046"/>
            <a:chExt cx="10142190" cy="3427687"/>
          </a:xfrm>
        </p:grpSpPr>
        <p:sp>
          <p:nvSpPr>
            <p:cNvPr id="108" name="Rectangle 107"/>
            <p:cNvSpPr/>
            <p:nvPr/>
          </p:nvSpPr>
          <p:spPr>
            <a:xfrm>
              <a:off x="977684" y="2394322"/>
              <a:ext cx="10141864"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5" name="Rectangle 14"/>
            <p:cNvSpPr/>
            <p:nvPr/>
          </p:nvSpPr>
          <p:spPr>
            <a:xfrm>
              <a:off x="981919" y="3106031"/>
              <a:ext cx="10128948"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5" name="Rectangle 84"/>
            <p:cNvSpPr/>
            <p:nvPr/>
          </p:nvSpPr>
          <p:spPr>
            <a:xfrm>
              <a:off x="990600" y="4576813"/>
              <a:ext cx="10103117" cy="688920"/>
            </a:xfrm>
            <a:prstGeom prst="rect">
              <a:avLst/>
            </a:prstGeom>
            <a:gradFill flip="none" rotWithShape="1">
              <a:gsLst>
                <a:gs pos="0">
                  <a:schemeClr val="accent1">
                    <a:lumMod val="20000"/>
                    <a:lumOff val="80000"/>
                    <a:shade val="30000"/>
                    <a:satMod val="115000"/>
                  </a:schemeClr>
                </a:gs>
                <a:gs pos="28000">
                  <a:schemeClr val="accent1">
                    <a:lumMod val="20000"/>
                    <a:lumOff val="80000"/>
                    <a:shade val="67500"/>
                    <a:satMod val="115000"/>
                  </a:schemeClr>
                </a:gs>
                <a:gs pos="96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0" name="Rectangle 79"/>
            <p:cNvSpPr/>
            <p:nvPr/>
          </p:nvSpPr>
          <p:spPr>
            <a:xfrm>
              <a:off x="977684" y="3823461"/>
              <a:ext cx="10128948" cy="710311"/>
            </a:xfrm>
            <a:prstGeom prst="rect">
              <a:avLst/>
            </a:prstGeom>
            <a:gradFill flip="none" rotWithShape="1">
              <a:gsLst>
                <a:gs pos="0">
                  <a:schemeClr val="accent1">
                    <a:lumMod val="20000"/>
                    <a:lumOff val="80000"/>
                    <a:shade val="30000"/>
                    <a:satMod val="115000"/>
                  </a:schemeClr>
                </a:gs>
                <a:gs pos="70000">
                  <a:schemeClr val="accent1">
                    <a:lumMod val="20000"/>
                    <a:lumOff val="80000"/>
                    <a:shade val="67500"/>
                    <a:satMod val="115000"/>
                  </a:schemeClr>
                </a:gs>
                <a:gs pos="100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31" name="Group 130"/>
            <p:cNvGrpSpPr/>
            <p:nvPr/>
          </p:nvGrpSpPr>
          <p:grpSpPr>
            <a:xfrm>
              <a:off x="5248828" y="2552284"/>
              <a:ext cx="2566026" cy="2589747"/>
              <a:chOff x="1911604" y="3313944"/>
              <a:chExt cx="2566026" cy="2589747"/>
            </a:xfrm>
          </p:grpSpPr>
          <p:sp>
            <p:nvSpPr>
              <p:cNvPr id="134" name="Rounded Rectangle 4"/>
              <p:cNvSpPr/>
              <p:nvPr/>
            </p:nvSpPr>
            <p:spPr>
              <a:xfrm>
                <a:off x="3027779" y="3313944"/>
                <a:ext cx="94454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135" name="Right Brace 134"/>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36" name="Rounded Rectangle 4"/>
              <p:cNvSpPr/>
              <p:nvPr/>
            </p:nvSpPr>
            <p:spPr>
              <a:xfrm>
                <a:off x="3649494" y="4088558"/>
                <a:ext cx="82813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erospace</a:t>
                </a:r>
              </a:p>
            </p:txBody>
          </p:sp>
          <p:sp>
            <p:nvSpPr>
              <p:cNvPr id="137"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uto</a:t>
                </a:r>
              </a:p>
            </p:txBody>
          </p:sp>
          <p:sp>
            <p:nvSpPr>
              <p:cNvPr id="141" name="Right Brace 140"/>
              <p:cNvSpPr/>
              <p:nvPr/>
            </p:nvSpPr>
            <p:spPr>
              <a:xfrm rot="16200000">
                <a:off x="2344522" y="4746153"/>
                <a:ext cx="841602" cy="952299"/>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42" name="Rounded Rectangle 4"/>
              <p:cNvSpPr/>
              <p:nvPr/>
            </p:nvSpPr>
            <p:spPr>
              <a:xfrm>
                <a:off x="1911604" y="560592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1</a:t>
                </a:r>
              </a:p>
            </p:txBody>
          </p:sp>
          <p:sp>
            <p:nvSpPr>
              <p:cNvPr id="143" name="Rounded Rectangle 4"/>
              <p:cNvSpPr/>
              <p:nvPr/>
            </p:nvSpPr>
            <p:spPr>
              <a:xfrm>
                <a:off x="2766731" y="5603500"/>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2</a:t>
                </a:r>
              </a:p>
            </p:txBody>
          </p:sp>
          <p:sp>
            <p:nvSpPr>
              <p:cNvPr id="144" name="Rounded Rectangle 4"/>
              <p:cNvSpPr/>
              <p:nvPr/>
            </p:nvSpPr>
            <p:spPr>
              <a:xfrm>
                <a:off x="3649494" y="560246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3</a:t>
                </a:r>
              </a:p>
            </p:txBody>
          </p:sp>
          <p:cxnSp>
            <p:nvCxnSpPr>
              <p:cNvPr id="145" name="Straight Connector 144"/>
              <p:cNvCxnSpPr/>
              <p:nvPr/>
            </p:nvCxnSpPr>
            <p:spPr>
              <a:xfrm>
                <a:off x="4091634" y="4773370"/>
                <a:ext cx="0"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47" name="Rounded Rectangle 4"/>
              <p:cNvSpPr/>
              <p:nvPr/>
            </p:nvSpPr>
            <p:spPr>
              <a:xfrm>
                <a:off x="2436966" y="4736719"/>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Car</a:t>
                </a:r>
              </a:p>
            </p:txBody>
          </p:sp>
          <p:sp>
            <p:nvSpPr>
              <p:cNvPr id="148" name="Rounded Rectangle 4"/>
              <p:cNvSpPr/>
              <p:nvPr/>
            </p:nvSpPr>
            <p:spPr>
              <a:xfrm>
                <a:off x="3688712" y="472577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Plane</a:t>
                </a:r>
              </a:p>
            </p:txBody>
          </p:sp>
          <p:cxnSp>
            <p:nvCxnSpPr>
              <p:cNvPr id="150" name="Straight Connector 149"/>
              <p:cNvCxnSpPr/>
              <p:nvPr/>
            </p:nvCxnSpPr>
            <p:spPr>
              <a:xfrm>
                <a:off x="2996902" y="4383980"/>
                <a:ext cx="0" cy="34179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091634" y="4374851"/>
                <a:ext cx="0"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194842" y="2552284"/>
              <a:ext cx="2558950" cy="2575315"/>
              <a:chOff x="1918679" y="3313944"/>
              <a:chExt cx="2558950" cy="2575315"/>
            </a:xfrm>
          </p:grpSpPr>
          <p:sp>
            <p:nvSpPr>
              <p:cNvPr id="89" name="Rounded Rectangle 4"/>
              <p:cNvSpPr/>
              <p:nvPr/>
            </p:nvSpPr>
            <p:spPr>
              <a:xfrm>
                <a:off x="3068634" y="3313944"/>
                <a:ext cx="1001620"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90" name="Right Brace 8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1" name="Rounded Rectangle 4"/>
              <p:cNvSpPr/>
              <p:nvPr/>
            </p:nvSpPr>
            <p:spPr>
              <a:xfrm>
                <a:off x="3705638"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urope</a:t>
                </a:r>
              </a:p>
            </p:txBody>
          </p:sp>
          <p:sp>
            <p:nvSpPr>
              <p:cNvPr id="92"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North America</a:t>
                </a:r>
              </a:p>
            </p:txBody>
          </p:sp>
          <p:sp>
            <p:nvSpPr>
              <p:cNvPr id="96" name="Right Brace 95"/>
              <p:cNvSpPr/>
              <p:nvPr/>
            </p:nvSpPr>
            <p:spPr>
              <a:xfrm rot="16200000">
                <a:off x="2357501" y="4714799"/>
                <a:ext cx="797267" cy="970675"/>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7" name="Rounded Rectangle 4"/>
              <p:cNvSpPr/>
              <p:nvPr/>
            </p:nvSpPr>
            <p:spPr>
              <a:xfrm>
                <a:off x="1918679"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a:t>
                </a:r>
              </a:p>
            </p:txBody>
          </p:sp>
          <p:sp>
            <p:nvSpPr>
              <p:cNvPr id="98" name="Rounded Rectangle 4"/>
              <p:cNvSpPr/>
              <p:nvPr/>
            </p:nvSpPr>
            <p:spPr>
              <a:xfrm>
                <a:off x="2768308" y="5591491"/>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2</a:t>
                </a:r>
              </a:p>
            </p:txBody>
          </p:sp>
          <p:sp>
            <p:nvSpPr>
              <p:cNvPr id="99" name="Rounded Rectangle 4"/>
              <p:cNvSpPr/>
              <p:nvPr/>
            </p:nvSpPr>
            <p:spPr>
              <a:xfrm>
                <a:off x="3663072"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kern="0">
                    <a:solidFill>
                      <a:srgbClr val="FFFFFF">
                        <a:alpha val="99000"/>
                      </a:srgbClr>
                    </a:solidFill>
                    <a:latin typeface="Segoe UI"/>
                  </a:rPr>
                  <a:t> </a:t>
                </a:r>
                <a:r>
                  <a:rPr lang="en-US" sz="1000" b="1" kern="0">
                    <a:solidFill>
                      <a:srgbClr val="FFFFFF">
                        <a:alpha val="99000"/>
                      </a:srgbClr>
                    </a:solidFill>
                    <a:latin typeface="Segoe UI"/>
                  </a:rPr>
                  <a:t>Project 3</a:t>
                </a:r>
                <a:endParaRPr lang="en-US" sz="1000" b="1" kern="0" dirty="0">
                  <a:solidFill>
                    <a:srgbClr val="FFFFFF">
                      <a:alpha val="99000"/>
                    </a:srgbClr>
                  </a:solidFill>
                  <a:latin typeface="Segoe UI"/>
                </a:endParaRPr>
              </a:p>
            </p:txBody>
          </p:sp>
          <p:cxnSp>
            <p:nvCxnSpPr>
              <p:cNvPr id="100" name="Straight Connector 99"/>
              <p:cNvCxnSpPr/>
              <p:nvPr/>
            </p:nvCxnSpPr>
            <p:spPr>
              <a:xfrm>
                <a:off x="4091634" y="4742548"/>
                <a:ext cx="0" cy="85876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03" name="Rounded Rectangle 4"/>
              <p:cNvSpPr/>
              <p:nvPr/>
            </p:nvSpPr>
            <p:spPr>
              <a:xfrm>
                <a:off x="2393643" y="4716526"/>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Ted Bear</a:t>
                </a:r>
              </a:p>
            </p:txBody>
          </p:sp>
          <p:sp>
            <p:nvSpPr>
              <p:cNvPr id="104" name="Rounded Rectangle 4"/>
              <p:cNvSpPr/>
              <p:nvPr/>
            </p:nvSpPr>
            <p:spPr>
              <a:xfrm>
                <a:off x="3688712" y="471549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Grace Ma</a:t>
                </a:r>
              </a:p>
            </p:txBody>
          </p:sp>
          <p:cxnSp>
            <p:nvCxnSpPr>
              <p:cNvPr id="106" name="Straight Connector 105"/>
              <p:cNvCxnSpPr/>
              <p:nvPr/>
            </p:nvCxnSpPr>
            <p:spPr>
              <a:xfrm>
                <a:off x="2996902" y="4401651"/>
                <a:ext cx="0" cy="29432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4092488" y="4385217"/>
                <a:ext cx="1"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037791" y="2077587"/>
              <a:ext cx="3880860" cy="3090416"/>
              <a:chOff x="596769" y="2821576"/>
              <a:chExt cx="3880860" cy="3090416"/>
            </a:xfrm>
          </p:grpSpPr>
          <p:sp>
            <p:nvSpPr>
              <p:cNvPr id="19" name="Rounded Rectangle 4"/>
              <p:cNvSpPr/>
              <p:nvPr/>
            </p:nvSpPr>
            <p:spPr>
              <a:xfrm>
                <a:off x="2996902" y="3313944"/>
                <a:ext cx="107335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20" name="Right Brace 1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1" name="Rounded Rectangle 4"/>
              <p:cNvSpPr/>
              <p:nvPr/>
            </p:nvSpPr>
            <p:spPr>
              <a:xfrm>
                <a:off x="3663632" y="4088558"/>
                <a:ext cx="813997"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Marketing</a:t>
                </a:r>
              </a:p>
            </p:txBody>
          </p:sp>
          <p:sp>
            <p:nvSpPr>
              <p:cNvPr id="23"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Finance</a:t>
                </a:r>
              </a:p>
            </p:txBody>
          </p:sp>
          <p:sp>
            <p:nvSpPr>
              <p:cNvPr id="7" name="TextBox 6"/>
              <p:cNvSpPr txBox="1"/>
              <p:nvPr/>
            </p:nvSpPr>
            <p:spPr>
              <a:xfrm>
                <a:off x="601883" y="3203940"/>
                <a:ext cx="67263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Enterprise</a:t>
                </a:r>
              </a:p>
            </p:txBody>
          </p:sp>
          <p:sp>
            <p:nvSpPr>
              <p:cNvPr id="32" name="Right Brace 31"/>
              <p:cNvSpPr/>
              <p:nvPr/>
            </p:nvSpPr>
            <p:spPr>
              <a:xfrm rot="16200000">
                <a:off x="2538309" y="4825054"/>
                <a:ext cx="852759" cy="836424"/>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34" name="Rounded Rectangle 4"/>
              <p:cNvSpPr/>
              <p:nvPr/>
            </p:nvSpPr>
            <p:spPr>
              <a:xfrm>
                <a:off x="1911692" y="561422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Dev</a:t>
                </a:r>
              </a:p>
            </p:txBody>
          </p:sp>
          <p:sp>
            <p:nvSpPr>
              <p:cNvPr id="36" name="Rounded Rectangle 4"/>
              <p:cNvSpPr/>
              <p:nvPr/>
            </p:nvSpPr>
            <p:spPr>
              <a:xfrm>
                <a:off x="2755757" y="5608686"/>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Test</a:t>
                </a:r>
              </a:p>
            </p:txBody>
          </p:sp>
          <p:sp>
            <p:nvSpPr>
              <p:cNvPr id="37" name="Rounded Rectangle 4"/>
              <p:cNvSpPr/>
              <p:nvPr/>
            </p:nvSpPr>
            <p:spPr>
              <a:xfrm>
                <a:off x="3632687" y="559653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duction Web Sites</a:t>
                </a:r>
              </a:p>
            </p:txBody>
          </p:sp>
          <p:cxnSp>
            <p:nvCxnSpPr>
              <p:cNvPr id="12" name="Straight Connector 11"/>
              <p:cNvCxnSpPr/>
              <p:nvPr/>
            </p:nvCxnSpPr>
            <p:spPr>
              <a:xfrm flipH="1">
                <a:off x="4091633" y="4773370"/>
                <a:ext cx="1"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602008" y="2821576"/>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81" name="Rounded Rectangle 4"/>
              <p:cNvSpPr/>
              <p:nvPr/>
            </p:nvSpPr>
            <p:spPr>
              <a:xfrm>
                <a:off x="2610907" y="473707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oe Smith</a:t>
                </a:r>
              </a:p>
            </p:txBody>
          </p:sp>
          <p:sp>
            <p:nvSpPr>
              <p:cNvPr id="82" name="Rounded Rectangle 4"/>
              <p:cNvSpPr/>
              <p:nvPr/>
            </p:nvSpPr>
            <p:spPr>
              <a:xfrm>
                <a:off x="3688712" y="4746320"/>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ane Doe</a:t>
                </a:r>
              </a:p>
            </p:txBody>
          </p:sp>
          <p:cxnSp>
            <p:nvCxnSpPr>
              <p:cNvPr id="5" name="Straight Connector 4"/>
              <p:cNvCxnSpPr>
                <a:endCxn id="81" idx="0"/>
              </p:cNvCxnSpPr>
              <p:nvPr/>
            </p:nvCxnSpPr>
            <p:spPr>
              <a:xfrm>
                <a:off x="2996902" y="4383980"/>
                <a:ext cx="1" cy="353094"/>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4091633" y="4364577"/>
                <a:ext cx="1" cy="37249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6769" y="5411868"/>
                <a:ext cx="898858" cy="177238"/>
              </a:xfrm>
              <a:prstGeom prst="rect">
                <a:avLst/>
              </a:prstGeom>
              <a:noFill/>
            </p:spPr>
            <p:txBody>
              <a:bodyPr wrap="none" lIns="0" tIns="0" rIns="0" bIns="0" rtlCol="0">
                <a:spAutoFit/>
              </a:bodyPr>
              <a:lstStyle/>
              <a:p>
                <a:pPr defTabSz="914225">
                  <a:defRPr/>
                </a:pPr>
                <a:r>
                  <a:rPr lang="en-US" sz="1200" kern="0" dirty="0">
                    <a:solidFill>
                      <a:srgbClr val="000000">
                        <a:alpha val="99000"/>
                      </a:srgbClr>
                    </a:solidFill>
                    <a:latin typeface="Segoe UI Semibold" pitchFamily="34" charset="0"/>
                  </a:rPr>
                  <a:t>Subscriptions</a:t>
                </a:r>
              </a:p>
            </p:txBody>
          </p:sp>
        </p:grpSp>
        <p:sp>
          <p:nvSpPr>
            <p:cNvPr id="9" name="Rectangle 8"/>
            <p:cNvSpPr/>
            <p:nvPr/>
          </p:nvSpPr>
          <p:spPr bwMode="auto">
            <a:xfrm rot="5400000">
              <a:off x="6247091" y="-2416418"/>
              <a:ext cx="601565" cy="9144001"/>
            </a:xfrm>
            <a:prstGeom prst="rect">
              <a:avLst/>
            </a:prstGeom>
            <a:gradFill flip="none" rotWithShape="1">
              <a:gsLst>
                <a:gs pos="0">
                  <a:schemeClr val="tx2">
                    <a:lumMod val="40000"/>
                    <a:lumOff val="60000"/>
                  </a:schemeClr>
                </a:gs>
                <a:gs pos="100000">
                  <a:schemeClr val="tx2">
                    <a:lumMod val="60000"/>
                    <a:lumOff val="40000"/>
                  </a:schemeClr>
                </a:gs>
              </a:gsLst>
              <a:lin ang="2700000" scaled="1"/>
              <a:tileRect/>
            </a:gra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400" kern="0" dirty="0">
                <a:gradFill>
                  <a:gsLst>
                    <a:gs pos="0">
                      <a:srgbClr val="292929"/>
                    </a:gs>
                    <a:gs pos="88000">
                      <a:srgbClr val="292929"/>
                    </a:gs>
                  </a:gsLst>
                  <a:lin ang="5400000" scaled="0"/>
                </a:gradFill>
                <a:latin typeface="Segoe UI"/>
              </a:endParaRPr>
            </a:p>
          </p:txBody>
        </p:sp>
        <p:sp>
          <p:nvSpPr>
            <p:cNvPr id="44" name="TextBox 43"/>
            <p:cNvSpPr txBox="1"/>
            <p:nvPr/>
          </p:nvSpPr>
          <p:spPr>
            <a:xfrm>
              <a:off x="5593645" y="1999114"/>
              <a:ext cx="1907809"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Business Division</a:t>
              </a:r>
            </a:p>
          </p:txBody>
        </p:sp>
        <p:sp>
          <p:nvSpPr>
            <p:cNvPr id="45" name="TextBox 44"/>
            <p:cNvSpPr txBox="1"/>
            <p:nvPr/>
          </p:nvSpPr>
          <p:spPr>
            <a:xfrm>
              <a:off x="8759309" y="2031082"/>
              <a:ext cx="1287961"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Geographic</a:t>
              </a:r>
            </a:p>
          </p:txBody>
        </p:sp>
        <p:sp>
          <p:nvSpPr>
            <p:cNvPr id="130" name="TextBox 129"/>
            <p:cNvSpPr txBox="1"/>
            <p:nvPr/>
          </p:nvSpPr>
          <p:spPr>
            <a:xfrm>
              <a:off x="3027738" y="1999113"/>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101" name="TextBox 100"/>
            <p:cNvSpPr txBox="1"/>
            <p:nvPr/>
          </p:nvSpPr>
          <p:spPr>
            <a:xfrm>
              <a:off x="1014870" y="3836107"/>
              <a:ext cx="613818"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Accounts</a:t>
              </a:r>
            </a:p>
          </p:txBody>
        </p:sp>
        <p:sp>
          <p:nvSpPr>
            <p:cNvPr id="109" name="TextBox 108"/>
            <p:cNvSpPr txBox="1"/>
            <p:nvPr/>
          </p:nvSpPr>
          <p:spPr>
            <a:xfrm>
              <a:off x="1016691" y="3138442"/>
              <a:ext cx="86869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Departments</a:t>
              </a:r>
            </a:p>
          </p:txBody>
        </p:sp>
        <p:cxnSp>
          <p:nvCxnSpPr>
            <p:cNvPr id="22" name="Straight Connector 21"/>
            <p:cNvCxnSpPr/>
            <p:nvPr/>
          </p:nvCxnSpPr>
          <p:spPr>
            <a:xfrm flipH="1">
              <a:off x="5136563" y="1851375"/>
              <a:ext cx="10274"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7948564" y="1838046"/>
              <a:ext cx="12431"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3381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3B941-D17B-4E78-9CFB-E96E4C0B531E}"/>
              </a:ext>
            </a:extLst>
          </p:cNvPr>
          <p:cNvSpPr>
            <a:spLocks noGrp="1"/>
          </p:cNvSpPr>
          <p:nvPr>
            <p:ph type="title"/>
          </p:nvPr>
        </p:nvSpPr>
        <p:spPr/>
        <p:txBody>
          <a:bodyPr/>
          <a:lstStyle/>
          <a:p>
            <a:r>
              <a:rPr lang="en-US" dirty="0"/>
              <a:t>Begin with the EA Portal….</a:t>
            </a:r>
          </a:p>
        </p:txBody>
      </p:sp>
      <p:sp>
        <p:nvSpPr>
          <p:cNvPr id="5" name="Rectangle 21">
            <a:extLst>
              <a:ext uri="{FF2B5EF4-FFF2-40B4-BE49-F238E27FC236}">
                <a16:creationId xmlns:a16="http://schemas.microsoft.com/office/drawing/2014/main" id="{58A68AA3-CCCE-4801-907E-720D79C558FF}"/>
              </a:ext>
            </a:extLst>
          </p:cNvPr>
          <p:cNvSpPr>
            <a:spLocks/>
          </p:cNvSpPr>
          <p:nvPr/>
        </p:nvSpPr>
        <p:spPr bwMode="auto">
          <a:xfrm>
            <a:off x="1" y="1460623"/>
            <a:ext cx="2639459" cy="986747"/>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ts val="588"/>
              </a:spcAft>
            </a:pPr>
            <a:r>
              <a:rPr lang="en-US" sz="2157" dirty="0">
                <a:solidFill>
                  <a:schemeClr val="bg1"/>
                </a:solidFill>
                <a:latin typeface="+mj-lt"/>
                <a:ea typeface="Segoe UI" pitchFamily="34" charset="0"/>
                <a:cs typeface="Segoe UI" pitchFamily="34" charset="0"/>
              </a:rPr>
              <a:t>Enterprise Admin</a:t>
            </a:r>
          </a:p>
        </p:txBody>
      </p:sp>
      <p:sp>
        <p:nvSpPr>
          <p:cNvPr id="6" name="Rectangle 21">
            <a:extLst>
              <a:ext uri="{FF2B5EF4-FFF2-40B4-BE49-F238E27FC236}">
                <a16:creationId xmlns:a16="http://schemas.microsoft.com/office/drawing/2014/main" id="{85AEF8FA-44C3-4E13-A48D-DDC87F22149E}"/>
              </a:ext>
            </a:extLst>
          </p:cNvPr>
          <p:cNvSpPr>
            <a:spLocks/>
          </p:cNvSpPr>
          <p:nvPr/>
        </p:nvSpPr>
        <p:spPr bwMode="auto">
          <a:xfrm>
            <a:off x="-5650" y="3495192"/>
            <a:ext cx="2639459" cy="912347"/>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ts val="588"/>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Account Owner</a:t>
            </a:r>
          </a:p>
        </p:txBody>
      </p:sp>
      <p:sp>
        <p:nvSpPr>
          <p:cNvPr id="7" name="Rectangle 21">
            <a:extLst>
              <a:ext uri="{FF2B5EF4-FFF2-40B4-BE49-F238E27FC236}">
                <a16:creationId xmlns:a16="http://schemas.microsoft.com/office/drawing/2014/main" id="{5A23761F-F0A1-47FE-8119-BF8A8DC8CA7F}"/>
              </a:ext>
            </a:extLst>
          </p:cNvPr>
          <p:cNvSpPr>
            <a:spLocks/>
          </p:cNvSpPr>
          <p:nvPr/>
        </p:nvSpPr>
        <p:spPr bwMode="auto">
          <a:xfrm>
            <a:off x="2737084" y="1460623"/>
            <a:ext cx="9454916" cy="986747"/>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lvl="1" fontAlgn="base">
              <a:lnSpc>
                <a:spcPct val="90000"/>
              </a:lnSpc>
              <a:spcBef>
                <a:spcPts val="588"/>
              </a:spcBef>
              <a:spcAft>
                <a:spcPts val="588"/>
              </a:spcAft>
              <a:buClr>
                <a:schemeClr val="tx2"/>
              </a:buClr>
              <a:buSzPct val="100000"/>
              <a:defRPr/>
            </a:pPr>
            <a:r>
              <a:rPr lang="en-US" sz="1568" kern="0" dirty="0">
                <a:solidFill>
                  <a:schemeClr val="bg1">
                    <a:alpha val="99000"/>
                  </a:schemeClr>
                </a:solidFill>
                <a:latin typeface="+mj-lt"/>
              </a:rPr>
              <a:t>Can add other Enterprise and Department Administrators, add Departments, add or associate Accounts to the Enrollment, can view usage and charges data across all Accounts and Subscriptions, can view the monetary commitment balance associated to the Enrollment.  There is no limit to the number of Enterprise Administrators on an Enrollment. </a:t>
            </a:r>
          </a:p>
        </p:txBody>
      </p:sp>
      <p:sp>
        <p:nvSpPr>
          <p:cNvPr id="8" name="Rectangle 21">
            <a:extLst>
              <a:ext uri="{FF2B5EF4-FFF2-40B4-BE49-F238E27FC236}">
                <a16:creationId xmlns:a16="http://schemas.microsoft.com/office/drawing/2014/main" id="{648100A6-09AC-4D62-821A-B94A70971A5F}"/>
              </a:ext>
            </a:extLst>
          </p:cNvPr>
          <p:cNvSpPr>
            <a:spLocks/>
          </p:cNvSpPr>
          <p:nvPr/>
        </p:nvSpPr>
        <p:spPr bwMode="auto">
          <a:xfrm>
            <a:off x="2897306" y="3194642"/>
            <a:ext cx="4400117" cy="141854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lnSpc>
                <a:spcPct val="90000"/>
              </a:lnSpc>
              <a:spcBef>
                <a:spcPct val="0"/>
              </a:spcBef>
              <a:spcAft>
                <a:spcPts val="588"/>
              </a:spcAft>
            </a:pPr>
            <a:endParaRPr lang="en-US" sz="1730" dirty="0">
              <a:solidFill>
                <a:schemeClr val="tx1"/>
              </a:solidFill>
              <a:ea typeface="Segoe UI" pitchFamily="34" charset="0"/>
              <a:cs typeface="Segoe UI" pitchFamily="34" charset="0"/>
            </a:endParaRPr>
          </a:p>
        </p:txBody>
      </p:sp>
      <p:sp>
        <p:nvSpPr>
          <p:cNvPr id="9" name="Rectangle 21">
            <a:extLst>
              <a:ext uri="{FF2B5EF4-FFF2-40B4-BE49-F238E27FC236}">
                <a16:creationId xmlns:a16="http://schemas.microsoft.com/office/drawing/2014/main" id="{FB1F57AC-07C4-4C80-80B1-F2456E0FC726}"/>
              </a:ext>
            </a:extLst>
          </p:cNvPr>
          <p:cNvSpPr>
            <a:spLocks/>
          </p:cNvSpPr>
          <p:nvPr/>
        </p:nvSpPr>
        <p:spPr bwMode="auto">
          <a:xfrm>
            <a:off x="2897306" y="4657280"/>
            <a:ext cx="4400117" cy="1474842"/>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lnSpc>
                <a:spcPct val="90000"/>
              </a:lnSpc>
              <a:spcBef>
                <a:spcPct val="0"/>
              </a:spcBef>
              <a:spcAft>
                <a:spcPts val="588"/>
              </a:spcAft>
            </a:pPr>
            <a:endParaRPr lang="en-US" sz="1274" dirty="0">
              <a:solidFill>
                <a:schemeClr val="tx1"/>
              </a:solidFill>
              <a:latin typeface="+mj-lt"/>
              <a:ea typeface="Segoe UI" pitchFamily="34" charset="0"/>
              <a:cs typeface="Segoe UI" pitchFamily="34" charset="0"/>
            </a:endParaRPr>
          </a:p>
        </p:txBody>
      </p:sp>
      <p:sp>
        <p:nvSpPr>
          <p:cNvPr id="10" name="Rectangle 21">
            <a:extLst>
              <a:ext uri="{FF2B5EF4-FFF2-40B4-BE49-F238E27FC236}">
                <a16:creationId xmlns:a16="http://schemas.microsoft.com/office/drawing/2014/main" id="{E3D5CC45-C4D8-4987-BD79-BEEB2C6A1CC0}"/>
              </a:ext>
            </a:extLst>
          </p:cNvPr>
          <p:cNvSpPr>
            <a:spLocks/>
          </p:cNvSpPr>
          <p:nvPr/>
        </p:nvSpPr>
        <p:spPr bwMode="auto">
          <a:xfrm>
            <a:off x="7290543" y="2757925"/>
            <a:ext cx="4400117" cy="141854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lnSpc>
                <a:spcPct val="90000"/>
              </a:lnSpc>
              <a:spcBef>
                <a:spcPct val="0"/>
              </a:spcBef>
              <a:spcAft>
                <a:spcPts val="588"/>
              </a:spcAft>
            </a:pPr>
            <a:endParaRPr lang="en-US" sz="1730" dirty="0">
              <a:solidFill>
                <a:schemeClr val="tx1"/>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0CA228FC-AF3E-4614-821A-7D2B850A0E3A}"/>
              </a:ext>
            </a:extLst>
          </p:cNvPr>
          <p:cNvSpPr/>
          <p:nvPr/>
        </p:nvSpPr>
        <p:spPr>
          <a:xfrm>
            <a:off x="2737084" y="3498284"/>
            <a:ext cx="9454916" cy="912347"/>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lvl="1" fontAlgn="base">
              <a:lnSpc>
                <a:spcPct val="90000"/>
              </a:lnSpc>
              <a:spcBef>
                <a:spcPts val="588"/>
              </a:spcBef>
              <a:spcAft>
                <a:spcPts val="588"/>
              </a:spcAft>
              <a:buClr>
                <a:schemeClr val="tx2"/>
              </a:buClr>
              <a:buSzPct val="100000"/>
            </a:pPr>
            <a:r>
              <a:rPr lang="en-US" sz="1568" kern="0" dirty="0">
                <a:solidFill>
                  <a:schemeClr val="bg1">
                    <a:alpha val="99000"/>
                  </a:schemeClr>
                </a:solidFill>
                <a:latin typeface="+mj-lt"/>
              </a:rPr>
              <a:t>Can add subscriptions to the account, update the Service Administrator and Co-Administrator for an individual subscription, view usage data for their Account, and view Account charges if enabled by the Enterprise Administrator.  The Account Owner will not have visibility of the monetary commitment balance unless they also have Enterprise Administrator rights.</a:t>
            </a:r>
          </a:p>
        </p:txBody>
      </p:sp>
      <p:sp>
        <p:nvSpPr>
          <p:cNvPr id="16" name="Rectangle 21">
            <a:extLst>
              <a:ext uri="{FF2B5EF4-FFF2-40B4-BE49-F238E27FC236}">
                <a16:creationId xmlns:a16="http://schemas.microsoft.com/office/drawing/2014/main" id="{FBF0C032-3E87-498A-ABE6-5A2205B8150C}"/>
              </a:ext>
            </a:extLst>
          </p:cNvPr>
          <p:cNvSpPr>
            <a:spLocks/>
          </p:cNvSpPr>
          <p:nvPr/>
        </p:nvSpPr>
        <p:spPr bwMode="auto">
          <a:xfrm>
            <a:off x="1" y="2561380"/>
            <a:ext cx="2639459" cy="7931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ts val="588"/>
              </a:spcAft>
            </a:pPr>
            <a:r>
              <a:rPr lang="en-US" sz="2157" dirty="0">
                <a:solidFill>
                  <a:schemeClr val="bg1"/>
                </a:solidFill>
                <a:latin typeface="+mj-lt"/>
                <a:ea typeface="Segoe UI" pitchFamily="34" charset="0"/>
                <a:cs typeface="Segoe UI" pitchFamily="34" charset="0"/>
              </a:rPr>
              <a:t>Department Admin</a:t>
            </a:r>
          </a:p>
        </p:txBody>
      </p:sp>
      <p:sp>
        <p:nvSpPr>
          <p:cNvPr id="17" name="Rectangle 21">
            <a:extLst>
              <a:ext uri="{FF2B5EF4-FFF2-40B4-BE49-F238E27FC236}">
                <a16:creationId xmlns:a16="http://schemas.microsoft.com/office/drawing/2014/main" id="{ECD4A98E-7BF8-42A9-A354-2DD147438BDB}"/>
              </a:ext>
            </a:extLst>
          </p:cNvPr>
          <p:cNvSpPr>
            <a:spLocks/>
          </p:cNvSpPr>
          <p:nvPr/>
        </p:nvSpPr>
        <p:spPr bwMode="auto">
          <a:xfrm>
            <a:off x="2737084" y="2561381"/>
            <a:ext cx="9454915" cy="80678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0" lvl="1" fontAlgn="base">
              <a:lnSpc>
                <a:spcPct val="90000"/>
              </a:lnSpc>
              <a:spcBef>
                <a:spcPts val="588"/>
              </a:spcBef>
              <a:spcAft>
                <a:spcPts val="588"/>
              </a:spcAft>
              <a:buClr>
                <a:schemeClr val="tx2"/>
              </a:buClr>
              <a:buSzPct val="100000"/>
              <a:defRPr/>
            </a:pPr>
            <a:r>
              <a:rPr lang="en-US" sz="1568" kern="0" dirty="0">
                <a:solidFill>
                  <a:schemeClr val="bg1">
                    <a:alpha val="99000"/>
                  </a:schemeClr>
                </a:solidFill>
                <a:latin typeface="+mj-lt"/>
              </a:rPr>
              <a:t>Can edit their department name and cost center, manage department admins, add accounts to the enrollment and their departments, remove accounts from their departments and view Department charges if enabled by the Enterprise Admin.</a:t>
            </a:r>
          </a:p>
        </p:txBody>
      </p:sp>
      <p:sp>
        <p:nvSpPr>
          <p:cNvPr id="57" name="TextBox 56">
            <a:extLst>
              <a:ext uri="{FF2B5EF4-FFF2-40B4-BE49-F238E27FC236}">
                <a16:creationId xmlns:a16="http://schemas.microsoft.com/office/drawing/2014/main" id="{CDC9515F-CDD0-4D86-A5C1-CD7B83236072}"/>
              </a:ext>
            </a:extLst>
          </p:cNvPr>
          <p:cNvSpPr txBox="1"/>
          <p:nvPr/>
        </p:nvSpPr>
        <p:spPr>
          <a:xfrm>
            <a:off x="1228873" y="4698661"/>
            <a:ext cx="9734254" cy="2281036"/>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These are powerful identities!</a:t>
            </a: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Restrict standing access, i.e. check in/out or service IDs</a:t>
            </a: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Audit usage</a:t>
            </a: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Create stand-alone identities when possible, i.e. do not use the same ID email, etc.</a:t>
            </a: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Secure them with MFA</a:t>
            </a:r>
          </a:p>
        </p:txBody>
      </p:sp>
    </p:spTree>
    <p:extLst>
      <p:ext uri="{BB962C8B-B14F-4D97-AF65-F5344CB8AC3E}">
        <p14:creationId xmlns:p14="http://schemas.microsoft.com/office/powerpoint/2010/main" val="16335105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dirty="0">
                <a:latin typeface="Segoe UI Semibold" panose="020B0702040204020203" pitchFamily="34" charset="0"/>
                <a:cs typeface="Segoe UI Semibold" panose="020B0702040204020203" pitchFamily="34" charset="0"/>
              </a:rPr>
              <a:t>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215991"/>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dirty="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dirty="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Aggregated views</a:t>
            </a: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462213"/>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dirty="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dirty="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dirty="0">
                <a:gradFill>
                  <a:gsLst>
                    <a:gs pos="2917">
                      <a:srgbClr val="1A1A1A"/>
                    </a:gs>
                    <a:gs pos="30000">
                      <a:srgbClr val="1A1A1A"/>
                    </a:gs>
                  </a:gsLst>
                  <a:lin ang="5400000" scaled="0"/>
                </a:gradFill>
                <a:latin typeface="Segoe UI"/>
              </a:rPr>
              <a:t>Can easily scale depending on the organizational needs </a:t>
            </a:r>
          </a:p>
          <a:p>
            <a:pPr marL="342834" indent="-342834" defTabSz="914192">
              <a:buFont typeface="Arial" panose="020B0604020202020204" pitchFamily="34" charset="0"/>
              <a:buChar char="•"/>
              <a:defRPr/>
            </a:pPr>
            <a:endParaRPr lang="en-US" sz="1600" dirty="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11458152" y="437108"/>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728564"/>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6335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65338"/>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CDB92-5D22-4D40-85A3-5383121C239B}"/>
              </a:ext>
            </a:extLst>
          </p:cNvPr>
          <p:cNvSpPr>
            <a:spLocks noGrp="1"/>
          </p:cNvSpPr>
          <p:nvPr>
            <p:ph type="title"/>
          </p:nvPr>
        </p:nvSpPr>
        <p:spPr/>
        <p:txBody>
          <a:bodyPr/>
          <a:lstStyle/>
          <a:p>
            <a:r>
              <a:rPr lang="en-US" sz="3200" dirty="0"/>
              <a:t>For comparison, look at Windows Active Directory</a:t>
            </a:r>
          </a:p>
        </p:txBody>
      </p:sp>
      <p:sp>
        <p:nvSpPr>
          <p:cNvPr id="6" name="Text Placeholder 5">
            <a:extLst>
              <a:ext uri="{FF2B5EF4-FFF2-40B4-BE49-F238E27FC236}">
                <a16:creationId xmlns:a16="http://schemas.microsoft.com/office/drawing/2014/main" id="{888C0EF8-7F21-4785-BC68-F0712B51468D}"/>
              </a:ext>
            </a:extLst>
          </p:cNvPr>
          <p:cNvSpPr>
            <a:spLocks noGrp="1"/>
          </p:cNvSpPr>
          <p:nvPr>
            <p:ph type="body" sz="half" idx="4294967295"/>
          </p:nvPr>
        </p:nvSpPr>
        <p:spPr>
          <a:xfrm>
            <a:off x="623125" y="2005771"/>
            <a:ext cx="4646104" cy="3454971"/>
          </a:xfrm>
        </p:spPr>
        <p:txBody>
          <a:bodyPr vert="horz" wrap="square" lIns="91427" tIns="45713" rIns="91427" bIns="45713" rtlCol="0">
            <a:normAutofit/>
          </a:bodyPr>
          <a:lstStyle/>
          <a:p>
            <a:pPr marL="0" indent="0">
              <a:buNone/>
            </a:pPr>
            <a:r>
              <a:rPr lang="en-US" sz="2000" dirty="0"/>
              <a:t>In the on-premises world, we implement Windows standards with Active Directory</a:t>
            </a:r>
          </a:p>
          <a:p>
            <a:pPr>
              <a:buFont typeface="Wingdings 3" charset="2"/>
              <a:buChar char=""/>
            </a:pPr>
            <a:r>
              <a:rPr lang="en-US" sz="2000" u="sng" dirty="0"/>
              <a:t>Organizational Units (OU) </a:t>
            </a:r>
            <a:r>
              <a:rPr lang="en-US" sz="2000" dirty="0"/>
              <a:t>– Logical container to group objects</a:t>
            </a:r>
          </a:p>
          <a:p>
            <a:pPr>
              <a:buFont typeface="Wingdings 3" charset="2"/>
              <a:buChar char=""/>
            </a:pPr>
            <a:r>
              <a:rPr lang="en-US" sz="2000" u="sng" dirty="0"/>
              <a:t>Group Policy (GPO) </a:t>
            </a:r>
            <a:r>
              <a:rPr lang="en-US" sz="2000" dirty="0"/>
              <a:t>– a collection of settings, applied to OUs</a:t>
            </a:r>
          </a:p>
          <a:p>
            <a:pPr>
              <a:buFont typeface="Wingdings 3" charset="2"/>
              <a:buChar char=""/>
            </a:pPr>
            <a:r>
              <a:rPr lang="en-US" sz="2000" u="sng" dirty="0"/>
              <a:t>Objects</a:t>
            </a:r>
            <a:r>
              <a:rPr lang="en-US" sz="2000" dirty="0"/>
              <a:t> – users, computers, etc. stored in OUs</a:t>
            </a:r>
          </a:p>
        </p:txBody>
      </p:sp>
      <p:pic>
        <p:nvPicPr>
          <p:cNvPr id="8" name="Picture Placeholder 7" descr="A map with text&#10;&#10;Description generated with high confidence">
            <a:extLst>
              <a:ext uri="{FF2B5EF4-FFF2-40B4-BE49-F238E27FC236}">
                <a16:creationId xmlns:a16="http://schemas.microsoft.com/office/drawing/2014/main" id="{9F708277-9C37-4BF0-A8E3-11DA10931A9A}"/>
              </a:ext>
            </a:extLst>
          </p:cNvPr>
          <p:cNvPicPr>
            <a:picLocks noGrp="1" noChangeAspect="1"/>
          </p:cNvPicPr>
          <p:nvPr>
            <p:ph idx="4294967295"/>
          </p:nvPr>
        </p:nvPicPr>
        <p:blipFill rotWithShape="1">
          <a:blip r:embed="rId2"/>
          <a:srcRect r="10433" b="2"/>
          <a:stretch/>
        </p:blipFill>
        <p:spPr>
          <a:xfrm>
            <a:off x="6555115" y="1447840"/>
            <a:ext cx="5625999" cy="4570833"/>
          </a:xfrm>
          <a:prstGeom prst="rect">
            <a:avLst/>
          </a:prstGeom>
          <a:effectLst/>
        </p:spPr>
      </p:pic>
    </p:spTree>
    <p:extLst>
      <p:ext uri="{BB962C8B-B14F-4D97-AF65-F5344CB8AC3E}">
        <p14:creationId xmlns:p14="http://schemas.microsoft.com/office/powerpoint/2010/main" val="36066201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D217E-C91A-446A-97E0-0C2D35ECE22E}"/>
              </a:ext>
            </a:extLst>
          </p:cNvPr>
          <p:cNvSpPr>
            <a:spLocks noGrp="1"/>
          </p:cNvSpPr>
          <p:nvPr>
            <p:ph type="title"/>
          </p:nvPr>
        </p:nvSpPr>
        <p:spPr>
          <a:prstGeom prst="rect">
            <a:avLst/>
          </a:prstGeom>
          <a:noFill/>
        </p:spPr>
        <p:txBody>
          <a:bodyPr vert="horz" wrap="square" lIns="89642" tIns="44821" rIns="89642" bIns="44821" rtlCol="0" anchor="b" anchorCtr="0">
            <a:normAutofit/>
          </a:bodyPr>
          <a:lstStyle/>
          <a:p>
            <a:pPr defTabSz="896386"/>
            <a:br>
              <a:rPr lang="en-US" sz="4117"/>
            </a:br>
            <a:r>
              <a:rPr lang="en-US" sz="4117"/>
              <a:t>Ensuring well-governed </a:t>
            </a:r>
            <a:br>
              <a:rPr lang="en-US" sz="4117"/>
            </a:br>
            <a:r>
              <a:rPr lang="en-US" sz="4117"/>
              <a:t>Azure environments</a:t>
            </a:r>
          </a:p>
        </p:txBody>
      </p:sp>
      <p:sp>
        <p:nvSpPr>
          <p:cNvPr id="3" name="Subtitle 2">
            <a:extLst>
              <a:ext uri="{FF2B5EF4-FFF2-40B4-BE49-F238E27FC236}">
                <a16:creationId xmlns:a16="http://schemas.microsoft.com/office/drawing/2014/main" id="{B5D31EAF-6A9A-42DE-9D07-C2672182DB3D}"/>
              </a:ext>
            </a:extLst>
          </p:cNvPr>
          <p:cNvSpPr>
            <a:spLocks noGrp="1"/>
          </p:cNvSpPr>
          <p:nvPr>
            <p:ph type="body" sz="quarter" idx="12"/>
          </p:nvPr>
        </p:nvSpPr>
        <p:spPr>
          <a:prstGeom prst="rect">
            <a:avLst/>
          </a:prstGeom>
          <a:noFill/>
        </p:spPr>
        <p:txBody>
          <a:bodyPr vert="horz" wrap="square" lIns="89642" tIns="44821" rIns="89642" bIns="44821" rtlCol="0">
            <a:normAutofit/>
          </a:bodyPr>
          <a:lstStyle/>
          <a:p>
            <a:pPr marL="4459" defTabSz="896386">
              <a:spcAft>
                <a:spcPts val="588"/>
              </a:spcAft>
            </a:pPr>
            <a:r>
              <a:rPr lang="en-US">
                <a:hlinkClick r:id="rId3"/>
              </a:rPr>
              <a:t>Nicole.Welch@Microsoft.com</a:t>
            </a:r>
            <a:endParaRPr lang="en-US"/>
          </a:p>
          <a:p>
            <a:pPr marL="4459" defTabSz="896386">
              <a:spcAft>
                <a:spcPts val="588"/>
              </a:spcAft>
            </a:pPr>
            <a:r>
              <a:rPr lang="en-US"/>
              <a:t>David Miller</a:t>
            </a:r>
          </a:p>
        </p:txBody>
      </p:sp>
    </p:spTree>
    <p:extLst>
      <p:ext uri="{BB962C8B-B14F-4D97-AF65-F5344CB8AC3E}">
        <p14:creationId xmlns:p14="http://schemas.microsoft.com/office/powerpoint/2010/main" val="198168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866" y="1781121"/>
            <a:ext cx="12190271" cy="4182723"/>
          </a:xfrm>
          <a:prstGeom prst="rect">
            <a:avLst/>
          </a:prstGeom>
          <a:solidFill>
            <a:schemeClr val="tx1"/>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440257" y="1781121"/>
            <a:ext cx="4480853" cy="4182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340" y="2754620"/>
            <a:ext cx="2991139" cy="8789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35">
              <a:defRPr/>
            </a:pPr>
            <a:endParaRPr lang="en-US" sz="2400" b="1">
              <a:solidFill>
                <a:srgbClr val="001F50"/>
              </a:solidFill>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581135" y="303224"/>
            <a:ext cx="9403389" cy="1400331"/>
          </a:xfrm>
        </p:spPr>
        <p:txBody>
          <a:bodyPr/>
          <a:lstStyle/>
          <a:p>
            <a:r>
              <a:rPr lang="en-US" dirty="0"/>
              <a:t>Management Groups for Enterprises</a:t>
            </a:r>
          </a:p>
        </p:txBody>
      </p:sp>
      <p:sp>
        <p:nvSpPr>
          <p:cNvPr id="5" name="Text Placeholder 4">
            <a:extLst>
              <a:ext uri="{FF2B5EF4-FFF2-40B4-BE49-F238E27FC236}">
                <a16:creationId xmlns:a16="http://schemas.microsoft.com/office/drawing/2014/main" id="{416B5153-E243-403A-9E5C-64B72E402706}"/>
              </a:ext>
            </a:extLst>
          </p:cNvPr>
          <p:cNvSpPr>
            <a:spLocks noGrp="1"/>
          </p:cNvSpPr>
          <p:nvPr>
            <p:ph type="body" sz="quarter" idx="10"/>
          </p:nvPr>
        </p:nvSpPr>
        <p:spPr>
          <a:xfrm>
            <a:off x="674914" y="2085299"/>
            <a:ext cx="6302830" cy="1267152"/>
          </a:xfrm>
          <a:noFill/>
        </p:spPr>
        <p:txBody>
          <a:bodyPr vert="horz" wrap="square" lIns="537703" tIns="143388" rIns="179235" bIns="143388" rtlCol="0">
            <a:spAutoFit/>
          </a:bodyPr>
          <a:lstStyle/>
          <a:p>
            <a:r>
              <a:rPr lang="en-US" sz="2353" dirty="0">
                <a:solidFill>
                  <a:schemeClr val="bg1"/>
                </a:solidFill>
                <a:cs typeface="Segoe UI" panose="020B0502040204020203" pitchFamily="34" charset="0"/>
              </a:rPr>
              <a:t>Organizational alignment for your Azure subscriptions through custom hierarchies </a:t>
            </a:r>
            <a:br>
              <a:rPr lang="en-US" sz="2353" dirty="0">
                <a:solidFill>
                  <a:schemeClr val="bg1"/>
                </a:solidFill>
                <a:cs typeface="Segoe UI" panose="020B0502040204020203" pitchFamily="34" charset="0"/>
              </a:rPr>
            </a:br>
            <a:r>
              <a:rPr lang="en-US" sz="2353" dirty="0">
                <a:solidFill>
                  <a:schemeClr val="bg1"/>
                </a:solidFill>
                <a:cs typeface="Segoe UI" panose="020B0502040204020203" pitchFamily="34" charset="0"/>
              </a:rPr>
              <a:t>and grouping</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492893" y="2610768"/>
            <a:ext cx="2375584" cy="237558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869898" y="3404615"/>
            <a:ext cx="6570361" cy="1286630"/>
          </a:xfrm>
          <a:prstGeom prst="rect">
            <a:avLst/>
          </a:prstGeom>
          <a:noFill/>
        </p:spPr>
        <p:txBody>
          <a:bodyPr vert="horz" wrap="square" lIns="537703" tIns="143388" rIns="179235" bIns="14338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1">
              <a:buNone/>
              <a:defRPr/>
            </a:pPr>
            <a:r>
              <a:rPr lang="en-US" sz="2353" dirty="0">
                <a:solidFill>
                  <a:schemeClr val="bg1"/>
                </a:solidFill>
                <a:latin typeface="+mn-lt"/>
                <a:cs typeface="Segoe UI" panose="020B0502040204020203" pitchFamily="34" charset="0"/>
              </a:rPr>
              <a:t>Enables targeting of policies across all subscriptions and inheritance down the hierarchies</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1135" y="3810742"/>
            <a:ext cx="454298" cy="45463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261">
              <a:defRPr/>
            </a:pPr>
            <a:endParaRPr lang="en-US" sz="883">
              <a:gradFill>
                <a:gsLst>
                  <a:gs pos="0">
                    <a:srgbClr val="505050"/>
                  </a:gs>
                  <a:gs pos="100000">
                    <a:srgbClr val="505050"/>
                  </a:gs>
                </a:gsLst>
                <a:lin ang="5400000" scaled="1"/>
              </a:gradFill>
              <a:latin typeface="Segoe UI Semilight"/>
            </a:endParaRPr>
          </a:p>
        </p:txBody>
      </p:sp>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869898" y="4723931"/>
            <a:ext cx="6570361" cy="954279"/>
          </a:xfrm>
          <a:prstGeom prst="rect">
            <a:avLst/>
          </a:prstGeom>
          <a:noFill/>
        </p:spPr>
        <p:txBody>
          <a:bodyPr vert="horz" wrap="square" lIns="537703" tIns="143388" rIns="179235" bIns="14338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1">
              <a:buNone/>
              <a:defRPr/>
            </a:pPr>
            <a:r>
              <a:rPr lang="en-US" sz="2353" dirty="0">
                <a:solidFill>
                  <a:schemeClr val="bg1"/>
                </a:solidFill>
                <a:latin typeface="+mn-lt"/>
                <a:cs typeface="Segoe UI" panose="020B0502040204020203" pitchFamily="34" charset="0"/>
              </a:rPr>
              <a:t>Enables compliance 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1135" y="4967172"/>
            <a:ext cx="454298" cy="45463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261">
              <a:defRPr/>
            </a:pPr>
            <a:endParaRPr lang="en-US" sz="883">
              <a:gradFill>
                <a:gsLst>
                  <a:gs pos="0">
                    <a:srgbClr val="505050"/>
                  </a:gs>
                  <a:gs pos="100000">
                    <a:srgbClr val="505050"/>
                  </a:gs>
                </a:gsLst>
                <a:lin ang="5400000" scaled="1"/>
              </a:gradFill>
              <a:latin typeface="Segoe UI Semilight"/>
            </a:endParaRPr>
          </a:p>
        </p:txBody>
      </p:sp>
      <p:sp>
        <p:nvSpPr>
          <p:cNvPr id="16" name="PageRight_E761">
            <a:extLst>
              <a:ext uri="{FF2B5EF4-FFF2-40B4-BE49-F238E27FC236}">
                <a16:creationId xmlns:a16="http://schemas.microsoft.com/office/drawing/2014/main" id="{654444F3-9806-4C83-99E7-480E38DBA62F}"/>
              </a:ext>
            </a:extLst>
          </p:cNvPr>
          <p:cNvSpPr>
            <a:spLocks noChangeAspect="1" noEditPoints="1"/>
          </p:cNvSpPr>
          <p:nvPr/>
        </p:nvSpPr>
        <p:spPr bwMode="auto">
          <a:xfrm>
            <a:off x="581135" y="2457238"/>
            <a:ext cx="454298" cy="45463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defTabSz="914261">
              <a:defRPr/>
            </a:pPr>
            <a:endParaRPr lang="en-US" sz="883">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85306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7B9ADE-3A6B-43DA-B8AB-69640BCCA2CD}"/>
              </a:ext>
            </a:extLst>
          </p:cNvPr>
          <p:cNvSpPr>
            <a:spLocks noGrp="1"/>
          </p:cNvSpPr>
          <p:nvPr>
            <p:ph type="title"/>
          </p:nvPr>
        </p:nvSpPr>
        <p:spPr>
          <a:xfrm>
            <a:off x="649703" y="629665"/>
            <a:ext cx="9250841" cy="1016510"/>
          </a:xfrm>
        </p:spPr>
        <p:txBody>
          <a:bodyPr>
            <a:normAutofit/>
          </a:bodyPr>
          <a:lstStyle/>
          <a:p>
            <a:r>
              <a:rPr lang="en-US"/>
              <a:t>Management Groups (MG)</a:t>
            </a:r>
            <a:endParaRPr lang="en-US" dirty="0"/>
          </a:p>
        </p:txBody>
      </p:sp>
      <p:sp>
        <p:nvSpPr>
          <p:cNvPr id="5" name="Content Placeholder 4">
            <a:extLst>
              <a:ext uri="{FF2B5EF4-FFF2-40B4-BE49-F238E27FC236}">
                <a16:creationId xmlns:a16="http://schemas.microsoft.com/office/drawing/2014/main" id="{BEC1E4BC-7B3C-4983-96C8-E8EED2623855}"/>
              </a:ext>
            </a:extLst>
          </p:cNvPr>
          <p:cNvSpPr>
            <a:spLocks noGrp="1"/>
          </p:cNvSpPr>
          <p:nvPr>
            <p:ph idx="1"/>
          </p:nvPr>
        </p:nvSpPr>
        <p:spPr>
          <a:xfrm>
            <a:off x="649703" y="2077569"/>
            <a:ext cx="5121880" cy="4463466"/>
          </a:xfrm>
        </p:spPr>
        <p:txBody>
          <a:bodyPr>
            <a:normAutofit/>
          </a:bodyPr>
          <a:lstStyle/>
          <a:p>
            <a:pPr>
              <a:lnSpc>
                <a:spcPct val="90000"/>
              </a:lnSpc>
            </a:pPr>
            <a:r>
              <a:rPr lang="en-US" sz="2400" dirty="0">
                <a:latin typeface="Arial Nova" panose="020B0504020202020204" pitchFamily="34" charset="0"/>
              </a:rPr>
              <a:t>Subscriptions automatically inherit the conditions applied to the management group </a:t>
            </a:r>
          </a:p>
          <a:p>
            <a:pPr>
              <a:lnSpc>
                <a:spcPct val="90000"/>
              </a:lnSpc>
            </a:pPr>
            <a:r>
              <a:rPr lang="en-US" sz="2157" b="1" dirty="0">
                <a:latin typeface="Arial Nova" panose="020B0504020202020204" pitchFamily="34" charset="0"/>
              </a:rPr>
              <a:t>Policy</a:t>
            </a:r>
            <a:r>
              <a:rPr lang="en-US" sz="2157" dirty="0">
                <a:latin typeface="Arial Nova" panose="020B0504020202020204" pitchFamily="34" charset="0"/>
              </a:rPr>
              <a:t> - Policy is inherited and cannot be altered by the resource or subscription owner allowing for improved governance</a:t>
            </a:r>
          </a:p>
          <a:p>
            <a:pPr>
              <a:lnSpc>
                <a:spcPct val="90000"/>
              </a:lnSpc>
            </a:pPr>
            <a:r>
              <a:rPr lang="en-US" sz="2157" b="1" dirty="0">
                <a:latin typeface="Arial Nova" panose="020B0504020202020204" pitchFamily="34" charset="0"/>
              </a:rPr>
              <a:t>RBAC</a:t>
            </a:r>
            <a:r>
              <a:rPr lang="en-US" sz="2157" dirty="0">
                <a:latin typeface="Arial Nova" panose="020B0504020202020204" pitchFamily="34" charset="0"/>
              </a:rPr>
              <a:t> - Create one RBAC assignment on the management group, all child subscriptions will inherit that access</a:t>
            </a:r>
          </a:p>
          <a:p>
            <a:pPr marL="514252" lvl="1"/>
            <a:r>
              <a:rPr lang="en-US" sz="1400" dirty="0">
                <a:latin typeface="Arial Nova" panose="020B0504020202020204" pitchFamily="34" charset="0"/>
              </a:rPr>
              <a:t>*</a:t>
            </a:r>
            <a:r>
              <a:rPr lang="en-US" sz="1400" i="1" dirty="0">
                <a:latin typeface="Arial Nova" panose="020B0504020202020204" pitchFamily="34" charset="0"/>
              </a:rPr>
              <a:t>Custom RBAC roles currently are NOT  supported on MGs but soon be available soon after General Availability (GA)</a:t>
            </a:r>
          </a:p>
          <a:p>
            <a:pPr>
              <a:lnSpc>
                <a:spcPct val="90000"/>
              </a:lnSpc>
            </a:pPr>
            <a:endParaRPr lang="en-US" dirty="0">
              <a:solidFill>
                <a:schemeClr val="tx1"/>
              </a:solidFill>
              <a:latin typeface="Arial Nova" panose="020B0504020202020204" pitchFamily="34" charset="0"/>
            </a:endParaRPr>
          </a:p>
        </p:txBody>
      </p:sp>
      <p:pic>
        <p:nvPicPr>
          <p:cNvPr id="7" name="Picture 6" descr="A screenshot of a cell phone&#10;&#10;Description generated with high confidence">
            <a:extLst>
              <a:ext uri="{FF2B5EF4-FFF2-40B4-BE49-F238E27FC236}">
                <a16:creationId xmlns:a16="http://schemas.microsoft.com/office/drawing/2014/main" id="{B95161EC-F77F-43EC-9228-B84BCB23571E}"/>
              </a:ext>
            </a:extLst>
          </p:cNvPr>
          <p:cNvPicPr>
            <a:picLocks noChangeAspect="1"/>
          </p:cNvPicPr>
          <p:nvPr/>
        </p:nvPicPr>
        <p:blipFill rotWithShape="1">
          <a:blip r:embed="rId2"/>
          <a:srcRect l="-1032" t="6904" r="27668" b="30723"/>
          <a:stretch/>
        </p:blipFill>
        <p:spPr>
          <a:xfrm>
            <a:off x="6091917" y="3139497"/>
            <a:ext cx="5450854" cy="2479317"/>
          </a:xfrm>
          <a:prstGeom prst="rect">
            <a:avLst/>
          </a:prstGeom>
          <a:effectLst/>
        </p:spPr>
      </p:pic>
    </p:spTree>
    <p:extLst>
      <p:ext uri="{BB962C8B-B14F-4D97-AF65-F5344CB8AC3E}">
        <p14:creationId xmlns:p14="http://schemas.microsoft.com/office/powerpoint/2010/main" val="37855945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a:xfrm>
            <a:off x="588263" y="457200"/>
            <a:ext cx="11018520" cy="1107996"/>
          </a:xfrm>
        </p:spPr>
        <p:txBody>
          <a:bodyPr>
            <a:normAutofit fontScale="90000"/>
          </a:bodyPr>
          <a:lstStyle/>
          <a:p>
            <a:r>
              <a:rPr lang="en-US" dirty="0">
                <a:solidFill>
                  <a:schemeClr val="tx1"/>
                </a:solidFill>
              </a:rPr>
              <a:t>Use </a:t>
            </a:r>
            <a:r>
              <a:rPr lang="en-US" dirty="0">
                <a:solidFill>
                  <a:schemeClr val="accent1"/>
                </a:solidFill>
              </a:rPr>
              <a:t>Management Groups </a:t>
            </a:r>
            <a:r>
              <a:rPr lang="en-US" dirty="0"/>
              <a:t>to organize subscriptions</a:t>
            </a:r>
            <a:br>
              <a:rPr lang="en-US" dirty="0"/>
            </a:br>
            <a:endParaRPr lang="en-US" dirty="0"/>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dirty="0">
                <a:solidFill>
                  <a:schemeClr val="tx1"/>
                </a:solidFill>
                <a:latin typeface="+mn-lt"/>
              </a:rPr>
              <a:t>Create a custom management hierarchy to fit your organization </a:t>
            </a:r>
          </a:p>
          <a:p>
            <a:pPr marL="0" lvl="0" indent="0">
              <a:spcAft>
                <a:spcPts val="600"/>
              </a:spcAft>
              <a:buNone/>
              <a:defRPr/>
            </a:pPr>
            <a:endParaRPr lang="en-US" sz="1800" dirty="0">
              <a:solidFill>
                <a:schemeClr val="tx1"/>
              </a:solidFill>
              <a:latin typeface="+mn-lt"/>
            </a:endParaRPr>
          </a:p>
          <a:p>
            <a:pPr marL="0" lvl="0" indent="0">
              <a:spcAft>
                <a:spcPts val="600"/>
              </a:spcAft>
              <a:buNone/>
              <a:defRPr/>
            </a:pPr>
            <a:r>
              <a:rPr lang="en-US" sz="1800" dirty="0">
                <a:solidFill>
                  <a:schemeClr val="tx1"/>
                </a:solidFill>
                <a:latin typeface="+mn-lt"/>
              </a:rPr>
              <a:t>Enables RBAC, policies for tagging, cost analysis and budgets at any scope</a:t>
            </a:r>
          </a:p>
          <a:p>
            <a:pPr marL="0" lvl="0" indent="0">
              <a:spcAft>
                <a:spcPts val="600"/>
              </a:spcAft>
              <a:buNone/>
              <a:defRPr/>
            </a:pPr>
            <a:endParaRPr lang="en-US" sz="1800" dirty="0">
              <a:solidFill>
                <a:schemeClr val="tx1"/>
              </a:solidFill>
              <a:latin typeface="+mn-lt"/>
            </a:endParaRPr>
          </a:p>
          <a:p>
            <a:pPr marL="0" lvl="0" indent="0">
              <a:spcAft>
                <a:spcPts val="600"/>
              </a:spcAft>
              <a:buNone/>
              <a:defRPr/>
            </a:pPr>
            <a:r>
              <a:rPr lang="en-US" sz="1800" dirty="0">
                <a:solidFill>
                  <a:schemeClr val="tx1"/>
                </a:solidFill>
                <a:latin typeface="+mn-lt"/>
              </a:rPr>
              <a:t>Shared with Policy, Security Center, Privileged Identity Management services</a:t>
            </a:r>
          </a:p>
          <a:p>
            <a:pPr marL="0" lvl="0" indent="0">
              <a:spcAft>
                <a:spcPts val="600"/>
              </a:spcAft>
              <a:buNone/>
              <a:defRPr/>
            </a:pPr>
            <a:endParaRPr lang="en-US" sz="1800" dirty="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2"/>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A45B2-48BF-495F-A01F-5B15DD03F064}"/>
              </a:ext>
            </a:extLst>
          </p:cNvPr>
          <p:cNvSpPr>
            <a:spLocks noGrp="1"/>
          </p:cNvSpPr>
          <p:nvPr>
            <p:ph type="title"/>
          </p:nvPr>
        </p:nvSpPr>
        <p:spPr>
          <a:xfrm>
            <a:off x="646885" y="453141"/>
            <a:ext cx="9403389" cy="1400331"/>
          </a:xfrm>
        </p:spPr>
        <p:txBody>
          <a:bodyPr>
            <a:normAutofit/>
          </a:bodyPr>
          <a:lstStyle/>
          <a:p>
            <a:r>
              <a:rPr lang="en-US" dirty="0"/>
              <a:t>Management Group Limits</a:t>
            </a:r>
          </a:p>
        </p:txBody>
      </p:sp>
      <p:graphicFrame>
        <p:nvGraphicFramePr>
          <p:cNvPr id="5" name="Content Placeholder 2">
            <a:extLst>
              <a:ext uri="{FF2B5EF4-FFF2-40B4-BE49-F238E27FC236}">
                <a16:creationId xmlns:a16="http://schemas.microsoft.com/office/drawing/2014/main" id="{6B3B2C46-2BF4-435B-86F0-D5D2ED6C35FC}"/>
              </a:ext>
            </a:extLst>
          </p:cNvPr>
          <p:cNvGraphicFramePr>
            <a:graphicFrameLocks noGrp="1"/>
          </p:cNvGraphicFramePr>
          <p:nvPr>
            <p:ph idx="1"/>
          </p:nvPr>
        </p:nvGraphicFramePr>
        <p:xfrm>
          <a:off x="646884" y="2237532"/>
          <a:ext cx="9403018" cy="40461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52012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1D0EC-AD21-4A67-890B-A5689416CF46}"/>
              </a:ext>
            </a:extLst>
          </p:cNvPr>
          <p:cNvSpPr>
            <a:spLocks noGrp="1"/>
          </p:cNvSpPr>
          <p:nvPr>
            <p:ph type="title"/>
          </p:nvPr>
        </p:nvSpPr>
        <p:spPr>
          <a:xfrm>
            <a:off x="649703" y="629665"/>
            <a:ext cx="9250841" cy="1016510"/>
          </a:xfrm>
        </p:spPr>
        <p:txBody>
          <a:bodyPr>
            <a:normAutofit fontScale="90000"/>
          </a:bodyPr>
          <a:lstStyle/>
          <a:p>
            <a:pPr>
              <a:lnSpc>
                <a:spcPct val="90000"/>
              </a:lnSpc>
            </a:pPr>
            <a:r>
              <a:rPr lang="en-US" sz="3600" dirty="0"/>
              <a:t>Root Management Group Idiosyncrasies</a:t>
            </a:r>
          </a:p>
        </p:txBody>
      </p:sp>
      <p:graphicFrame>
        <p:nvGraphicFramePr>
          <p:cNvPr id="5" name="Content Placeholder 2">
            <a:extLst>
              <a:ext uri="{FF2B5EF4-FFF2-40B4-BE49-F238E27FC236}">
                <a16:creationId xmlns:a16="http://schemas.microsoft.com/office/drawing/2014/main" id="{33B41416-1419-422F-8F24-BEAFC221DC63}"/>
              </a:ext>
            </a:extLst>
          </p:cNvPr>
          <p:cNvGraphicFramePr>
            <a:graphicFrameLocks noGrp="1"/>
          </p:cNvGraphicFramePr>
          <p:nvPr>
            <p:ph idx="1"/>
            <p:extLst>
              <p:ext uri="{D42A27DB-BD31-4B8C-83A1-F6EECF244321}">
                <p14:modId xmlns:p14="http://schemas.microsoft.com/office/powerpoint/2010/main" val="1849652879"/>
              </p:ext>
            </p:extLst>
          </p:nvPr>
        </p:nvGraphicFramePr>
        <p:xfrm>
          <a:off x="649703" y="1646175"/>
          <a:ext cx="10893825" cy="45679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77681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
        <p:nvSpPr>
          <p:cNvPr id="5" name="Text Placeholder 4">
            <a:extLst>
              <a:ext uri="{FF2B5EF4-FFF2-40B4-BE49-F238E27FC236}">
                <a16:creationId xmlns:a16="http://schemas.microsoft.com/office/drawing/2014/main" id="{E73F3586-7F3E-407B-BD80-4C19B161078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0547166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337674"/>
            <a:ext cx="8511829" cy="1369565"/>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Management Groups - </a:t>
            </a:r>
          </a:p>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
        <p:nvSpPr>
          <p:cNvPr id="6" name="TextBox 5">
            <a:extLst>
              <a:ext uri="{FF2B5EF4-FFF2-40B4-BE49-F238E27FC236}">
                <a16:creationId xmlns:a16="http://schemas.microsoft.com/office/drawing/2014/main" id="{E82AF2CA-3E44-4D97-8EB5-C7709F657D3D}"/>
              </a:ext>
            </a:extLst>
          </p:cNvPr>
          <p:cNvSpPr txBox="1"/>
          <p:nvPr/>
        </p:nvSpPr>
        <p:spPr>
          <a:xfrm>
            <a:off x="458000" y="2079171"/>
            <a:ext cx="7662743" cy="646331"/>
          </a:xfrm>
          <a:prstGeom prst="rect">
            <a:avLst/>
          </a:prstGeom>
          <a:noFill/>
        </p:spPr>
        <p:txBody>
          <a:bodyPr wrap="square" rtlCol="0">
            <a:spAutoFit/>
          </a:bodyPr>
          <a:lstStyle/>
          <a:p>
            <a:r>
              <a:rPr lang="en-US" dirty="0"/>
              <a:t>Create the following hierarchy and place your subscription Central IT MG.</a:t>
            </a:r>
          </a:p>
          <a:p>
            <a:endParaRPr lang="en-US" dirty="0"/>
          </a:p>
        </p:txBody>
      </p:sp>
      <p:pic>
        <p:nvPicPr>
          <p:cNvPr id="7" name="Picture 6" descr="A close up of a logo&#10;&#10;Description generated with high confidence">
            <a:extLst>
              <a:ext uri="{FF2B5EF4-FFF2-40B4-BE49-F238E27FC236}">
                <a16:creationId xmlns:a16="http://schemas.microsoft.com/office/drawing/2014/main" id="{1870DC5E-8887-4CAE-98D3-68630D3ADB8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65278" y="2689334"/>
            <a:ext cx="1017607" cy="1017607"/>
          </a:xfrm>
          <a:prstGeom prst="rect">
            <a:avLst/>
          </a:prstGeom>
        </p:spPr>
      </p:pic>
      <p:pic>
        <p:nvPicPr>
          <p:cNvPr id="4098" name="Picture 2" descr="See the source image">
            <a:extLst>
              <a:ext uri="{FF2B5EF4-FFF2-40B4-BE49-F238E27FC236}">
                <a16:creationId xmlns:a16="http://schemas.microsoft.com/office/drawing/2014/main" id="{34789D0A-5629-4DD9-9AD1-BBAE1B33A4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2380" y="5317935"/>
            <a:ext cx="848757" cy="84875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close up of a logo&#10;&#10;Description generated with high confidence">
            <a:extLst>
              <a:ext uri="{FF2B5EF4-FFF2-40B4-BE49-F238E27FC236}">
                <a16:creationId xmlns:a16="http://schemas.microsoft.com/office/drawing/2014/main" id="{35D9F965-A7A8-447F-8800-6FB4FFD3F73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97546" y="3839293"/>
            <a:ext cx="1017607" cy="1017607"/>
          </a:xfrm>
          <a:prstGeom prst="rect">
            <a:avLst/>
          </a:prstGeom>
        </p:spPr>
      </p:pic>
      <p:pic>
        <p:nvPicPr>
          <p:cNvPr id="12" name="Picture 11" descr="A close up of a logo&#10;&#10;Description generated with high confidence">
            <a:extLst>
              <a:ext uri="{FF2B5EF4-FFF2-40B4-BE49-F238E27FC236}">
                <a16:creationId xmlns:a16="http://schemas.microsoft.com/office/drawing/2014/main" id="{52E07F12-E92A-4719-B8B9-AF1DFB584BC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948956" y="3839294"/>
            <a:ext cx="1017607" cy="1017607"/>
          </a:xfrm>
          <a:prstGeom prst="rect">
            <a:avLst/>
          </a:prstGeom>
        </p:spPr>
      </p:pic>
      <p:sp>
        <p:nvSpPr>
          <p:cNvPr id="10" name="TextBox 9">
            <a:extLst>
              <a:ext uri="{FF2B5EF4-FFF2-40B4-BE49-F238E27FC236}">
                <a16:creationId xmlns:a16="http://schemas.microsoft.com/office/drawing/2014/main" id="{7DD2C812-4B7C-4DDF-9DE6-1D35A11B780C}"/>
              </a:ext>
            </a:extLst>
          </p:cNvPr>
          <p:cNvSpPr txBox="1"/>
          <p:nvPr/>
        </p:nvSpPr>
        <p:spPr>
          <a:xfrm>
            <a:off x="3537857" y="3654627"/>
            <a:ext cx="1099457" cy="369332"/>
          </a:xfrm>
          <a:prstGeom prst="rect">
            <a:avLst/>
          </a:prstGeom>
          <a:noFill/>
        </p:spPr>
        <p:txBody>
          <a:bodyPr wrap="square" rtlCol="0">
            <a:spAutoFit/>
          </a:bodyPr>
          <a:lstStyle/>
          <a:p>
            <a:pPr algn="ctr"/>
            <a:r>
              <a:rPr lang="en-US" dirty="0"/>
              <a:t>Contoso</a:t>
            </a:r>
          </a:p>
        </p:txBody>
      </p:sp>
      <p:sp>
        <p:nvSpPr>
          <p:cNvPr id="13" name="TextBox 12">
            <a:extLst>
              <a:ext uri="{FF2B5EF4-FFF2-40B4-BE49-F238E27FC236}">
                <a16:creationId xmlns:a16="http://schemas.microsoft.com/office/drawing/2014/main" id="{E7D8A650-6E27-4B79-B485-4DF0F6F85121}"/>
              </a:ext>
            </a:extLst>
          </p:cNvPr>
          <p:cNvSpPr txBox="1"/>
          <p:nvPr/>
        </p:nvSpPr>
        <p:spPr>
          <a:xfrm>
            <a:off x="1948956" y="4996543"/>
            <a:ext cx="1017607" cy="369332"/>
          </a:xfrm>
          <a:prstGeom prst="rect">
            <a:avLst/>
          </a:prstGeom>
          <a:noFill/>
        </p:spPr>
        <p:txBody>
          <a:bodyPr wrap="square" rtlCol="0">
            <a:spAutoFit/>
          </a:bodyPr>
          <a:lstStyle/>
          <a:p>
            <a:pPr algn="ctr"/>
            <a:r>
              <a:rPr lang="en-US" dirty="0"/>
              <a:t>Biz Apps</a:t>
            </a:r>
          </a:p>
        </p:txBody>
      </p:sp>
      <p:sp>
        <p:nvSpPr>
          <p:cNvPr id="14" name="TextBox 13">
            <a:extLst>
              <a:ext uri="{FF2B5EF4-FFF2-40B4-BE49-F238E27FC236}">
                <a16:creationId xmlns:a16="http://schemas.microsoft.com/office/drawing/2014/main" id="{F2E7BCBC-7A8F-4C1F-B7A6-2059A9D4BAAC}"/>
              </a:ext>
            </a:extLst>
          </p:cNvPr>
          <p:cNvSpPr txBox="1"/>
          <p:nvPr/>
        </p:nvSpPr>
        <p:spPr>
          <a:xfrm>
            <a:off x="4992822" y="4856900"/>
            <a:ext cx="1227054" cy="369332"/>
          </a:xfrm>
          <a:prstGeom prst="rect">
            <a:avLst/>
          </a:prstGeom>
          <a:noFill/>
        </p:spPr>
        <p:txBody>
          <a:bodyPr wrap="square" rtlCol="0">
            <a:spAutoFit/>
          </a:bodyPr>
          <a:lstStyle/>
          <a:p>
            <a:pPr algn="ctr"/>
            <a:r>
              <a:rPr lang="en-US" dirty="0"/>
              <a:t>Central IT</a:t>
            </a:r>
          </a:p>
        </p:txBody>
      </p:sp>
      <p:cxnSp>
        <p:nvCxnSpPr>
          <p:cNvPr id="16" name="Straight Connector 15">
            <a:extLst>
              <a:ext uri="{FF2B5EF4-FFF2-40B4-BE49-F238E27FC236}">
                <a16:creationId xmlns:a16="http://schemas.microsoft.com/office/drawing/2014/main" id="{E523203C-E5DA-4125-AF8D-E24BD1FED9F0}"/>
              </a:ext>
            </a:extLst>
          </p:cNvPr>
          <p:cNvCxnSpPr>
            <a:stCxn id="7" idx="1"/>
            <a:endCxn id="12" idx="0"/>
          </p:cNvCxnSpPr>
          <p:nvPr/>
        </p:nvCxnSpPr>
        <p:spPr>
          <a:xfrm flipH="1">
            <a:off x="2457760" y="3198138"/>
            <a:ext cx="1107518" cy="641156"/>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5A87061-E6BC-48A1-8FC4-0497233A2BFA}"/>
              </a:ext>
            </a:extLst>
          </p:cNvPr>
          <p:cNvCxnSpPr>
            <a:stCxn id="7" idx="3"/>
            <a:endCxn id="11" idx="0"/>
          </p:cNvCxnSpPr>
          <p:nvPr/>
        </p:nvCxnSpPr>
        <p:spPr>
          <a:xfrm>
            <a:off x="4582885" y="3198138"/>
            <a:ext cx="1023465" cy="641155"/>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D4581DD-BE02-474D-AC51-963ADF4C5F38}"/>
              </a:ext>
            </a:extLst>
          </p:cNvPr>
          <p:cNvSpPr txBox="1"/>
          <p:nvPr/>
        </p:nvSpPr>
        <p:spPr>
          <a:xfrm>
            <a:off x="5464565" y="5614022"/>
            <a:ext cx="1378904" cy="369332"/>
          </a:xfrm>
          <a:prstGeom prst="rect">
            <a:avLst/>
          </a:prstGeom>
          <a:noFill/>
        </p:spPr>
        <p:txBody>
          <a:bodyPr wrap="none" rtlCol="0">
            <a:spAutoFit/>
          </a:bodyPr>
          <a:lstStyle/>
          <a:p>
            <a:r>
              <a:rPr lang="en-US" dirty="0"/>
              <a:t>Subscription</a:t>
            </a:r>
          </a:p>
        </p:txBody>
      </p:sp>
    </p:spTree>
    <p:extLst>
      <p:ext uri="{BB962C8B-B14F-4D97-AF65-F5344CB8AC3E}">
        <p14:creationId xmlns:p14="http://schemas.microsoft.com/office/powerpoint/2010/main" val="2490428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1+#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1+#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3095894649"/>
              </p:ext>
            </p:extLst>
          </p:nvPr>
        </p:nvGraphicFramePr>
        <p:xfrm>
          <a:off x="609600" y="598634"/>
          <a:ext cx="6400800" cy="5425148"/>
        </p:xfrm>
        <a:graphic>
          <a:graphicData uri="http://schemas.openxmlformats.org/drawingml/2006/table">
            <a:tbl>
              <a:tblPr firstRow="1" bandRow="1">
                <a:tableStyleId>{21E4AEA4-8DFA-4A89-87EB-49C32662AFE0}</a:tableStyleId>
              </a:tblPr>
              <a:tblGrid>
                <a:gridCol w="4430486">
                  <a:extLst>
                    <a:ext uri="{9D8B030D-6E8A-4147-A177-3AD203B41FA5}">
                      <a16:colId xmlns:a16="http://schemas.microsoft.com/office/drawing/2014/main" val="4018181522"/>
                    </a:ext>
                  </a:extLst>
                </a:gridCol>
                <a:gridCol w="1970314">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strike="sngStrike" dirty="0"/>
                        <a:t>Logistics</a:t>
                      </a:r>
                    </a:p>
                  </a:txBody>
                  <a:tcPr marL="91898" marR="91898" marT="45949" marB="45949"/>
                </a:tc>
                <a:tc>
                  <a:txBody>
                    <a:bodyPr/>
                    <a:lstStyle/>
                    <a:p>
                      <a:r>
                        <a:rPr lang="en-US" sz="2000" strike="sngStrike"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strike="sngStrike" dirty="0"/>
                        <a:t>Overview</a:t>
                      </a:r>
                    </a:p>
                  </a:txBody>
                  <a:tcPr marL="91898" marR="91898" marT="45949" marB="45949"/>
                </a:tc>
                <a:tc>
                  <a:txBody>
                    <a:bodyPr/>
                    <a:lstStyle/>
                    <a:p>
                      <a:r>
                        <a:rPr lang="en-US" sz="2000" strike="sngStrike" dirty="0"/>
                        <a:t>9:45am</a:t>
                      </a:r>
                    </a:p>
                  </a:txBody>
                  <a:tcPr marL="91898" marR="91898" marT="45949" marB="45949"/>
                </a:tc>
                <a:extLst>
                  <a:ext uri="{0D108BD9-81ED-4DB2-BD59-A6C34878D82A}">
                    <a16:rowId xmlns:a16="http://schemas.microsoft.com/office/drawing/2014/main" val="1615664802"/>
                  </a:ext>
                </a:extLst>
              </a:tr>
              <a:tr h="664772">
                <a:tc>
                  <a:txBody>
                    <a:bodyPr/>
                    <a:lstStyle/>
                    <a:p>
                      <a:r>
                        <a:rPr lang="en-US" sz="2000" strike="sngStrike" dirty="0"/>
                        <a:t>Enrollment Setup, Management Groups</a:t>
                      </a:r>
                    </a:p>
                  </a:txBody>
                  <a:tcPr marL="91898" marR="91898" marT="45949" marB="45949"/>
                </a:tc>
                <a:tc>
                  <a:txBody>
                    <a:bodyPr/>
                    <a:lstStyle/>
                    <a:p>
                      <a:r>
                        <a:rPr lang="en-US" sz="2000" strike="sngStrike" dirty="0"/>
                        <a:t>10:00 – 10: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strike="sngStrike" dirty="0"/>
                        <a:t>Challenge </a:t>
                      </a:r>
                    </a:p>
                  </a:txBody>
                  <a:tcPr marL="91898" marR="91898" marT="45949" marB="45949"/>
                </a:tc>
                <a:tc>
                  <a:txBody>
                    <a:bodyPr/>
                    <a:lstStyle/>
                    <a:p>
                      <a:r>
                        <a:rPr lang="en-US" sz="2000" strike="sngStrike" dirty="0"/>
                        <a:t>10:30 – 11:00am</a:t>
                      </a:r>
                    </a:p>
                  </a:txBody>
                  <a:tcPr marL="91898" marR="91898" marT="45949" marB="45949"/>
                </a:tc>
                <a:extLst>
                  <a:ext uri="{0D108BD9-81ED-4DB2-BD59-A6C34878D82A}">
                    <a16:rowId xmlns:a16="http://schemas.microsoft.com/office/drawing/2014/main" val="2312324020"/>
                  </a:ext>
                </a:extLst>
              </a:tr>
              <a:tr h="394552">
                <a:tc>
                  <a:txBody>
                    <a:bodyPr/>
                    <a:lstStyle/>
                    <a:p>
                      <a:r>
                        <a:rPr lang="en-US" sz="2000" dirty="0"/>
                        <a:t>Azure Policy and RBAC</a:t>
                      </a:r>
                    </a:p>
                  </a:txBody>
                  <a:tcPr marL="91898" marR="91898" marT="45949" marB="45949"/>
                </a:tc>
                <a:tc>
                  <a:txBody>
                    <a:bodyPr/>
                    <a:lstStyle/>
                    <a:p>
                      <a:r>
                        <a:rPr lang="en-US" sz="2000" dirty="0"/>
                        <a:t>11:00 – 11:3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dirty="0"/>
                        <a:t>Challenge</a:t>
                      </a:r>
                    </a:p>
                  </a:txBody>
                  <a:tcPr marL="91898" marR="91898" marT="45949" marB="45949"/>
                </a:tc>
                <a:tc>
                  <a:txBody>
                    <a:bodyPr/>
                    <a:lstStyle/>
                    <a:p>
                      <a:r>
                        <a:rPr lang="en-US" sz="2000" dirty="0"/>
                        <a:t>11:3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dirty="0"/>
                        <a:t>Lunch</a:t>
                      </a:r>
                    </a:p>
                  </a:txBody>
                  <a:tcPr marL="91898" marR="91898" marT="45949" marB="45949"/>
                </a:tc>
                <a:tc>
                  <a:txBody>
                    <a:bodyPr/>
                    <a:lstStyle/>
                    <a:p>
                      <a:r>
                        <a:rPr lang="en-US" sz="2000"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dirty="0"/>
                        <a:t>Blueprints</a:t>
                      </a:r>
                    </a:p>
                  </a:txBody>
                  <a:tcPr marL="91898" marR="91898" marT="45949" marB="45949"/>
                </a:tc>
                <a:tc>
                  <a:txBody>
                    <a:bodyPr/>
                    <a:lstStyle/>
                    <a:p>
                      <a:r>
                        <a:rPr lang="en-US" sz="2000"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dirty="0"/>
                        <a:t>Challenge</a:t>
                      </a:r>
                    </a:p>
                  </a:txBody>
                  <a:tcPr marL="91898" marR="91898" marT="45949" marB="45949"/>
                </a:tc>
                <a:tc>
                  <a:txBody>
                    <a:bodyPr/>
                    <a:lstStyle/>
                    <a:p>
                      <a:r>
                        <a:rPr lang="en-US" sz="2000"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161390655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445316"/>
            <a:ext cx="8799471" cy="928289"/>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Enrollment</a:t>
              </a:r>
            </a:p>
            <a:p>
              <a:pPr algn="l" defTabSz="914192">
                <a:defRPr/>
              </a:pPr>
              <a:r>
                <a:rPr lang="en-US" b="0" dirty="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a:cxnSpLocks/>
            </p:cNvCxnSpPr>
            <p:nvPr/>
          </p:nvCxnSpPr>
          <p:spPr>
            <a:xfrm>
              <a:off x="9302765" y="4059258"/>
              <a:ext cx="2086215" cy="22517"/>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accent4"/>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solidFill>
                    <a:schemeClr val="accent4"/>
                  </a:solidFill>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dirty="0">
                <a:solidFill>
                  <a:schemeClr val="accent4"/>
                </a:solidFill>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180946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a:xfrm>
            <a:off x="0" y="160020"/>
            <a:ext cx="9784080" cy="1027943"/>
          </a:xfrm>
        </p:spPr>
        <p:txBody>
          <a:bodyPr/>
          <a:lstStyle/>
          <a:p>
            <a:r>
              <a:rPr lang="en-US" sz="3600" dirty="0">
                <a:solidFill>
                  <a:schemeClr val="tx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883229"/>
            <a:ext cx="5378548" cy="4435060"/>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G,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7810DC0-66C7-4366-88EA-6E664FD3C5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3887812"/>
            <a:ext cx="12188952"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Rectangle 13">
            <a:extLst>
              <a:ext uri="{FF2B5EF4-FFF2-40B4-BE49-F238E27FC236}">
                <a16:creationId xmlns:a16="http://schemas.microsoft.com/office/drawing/2014/main" id="{042D072A-532A-416F-8B5A-995223B6FF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2059012"/>
            <a:ext cx="12188952" cy="1828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sp>
        <p:nvSpPr>
          <p:cNvPr id="16" name="Rectangle 15">
            <a:extLst>
              <a:ext uri="{FF2B5EF4-FFF2-40B4-BE49-F238E27FC236}">
                <a16:creationId xmlns:a16="http://schemas.microsoft.com/office/drawing/2014/main" id="{F0EEB33F-2378-4FB7-8EC9-D1B65853DC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540358" cy="6858000"/>
          </a:xfrm>
          <a:prstGeom prst="rect">
            <a:avLst/>
          </a:prstGeom>
          <a:ln>
            <a:noFill/>
          </a:ln>
        </p:spPr>
        <p:style>
          <a:lnRef idx="2">
            <a:schemeClr val="accent1">
              <a:shade val="50000"/>
            </a:schemeClr>
          </a:lnRef>
          <a:fillRef idx="1001">
            <a:schemeClr val="lt1"/>
          </a:fillRef>
          <a:effectRef idx="0">
            <a:schemeClr val="accent1"/>
          </a:effectRef>
          <a:fontRef idx="minor">
            <a:schemeClr val="lt1"/>
          </a:fontRef>
        </p:style>
        <p:txBody>
          <a:bodyPr rtlCol="0" anchor="ctr"/>
          <a:lstStyle/>
          <a:p>
            <a:pPr algn="ctr"/>
            <a:endParaRPr lang="en-US" dirty="0"/>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949180287"/>
              </p:ext>
            </p:extLst>
          </p:nvPr>
        </p:nvGraphicFramePr>
        <p:xfrm>
          <a:off x="609600" y="598634"/>
          <a:ext cx="6400800" cy="5425148"/>
        </p:xfrm>
        <a:graphic>
          <a:graphicData uri="http://schemas.openxmlformats.org/drawingml/2006/table">
            <a:tbl>
              <a:tblPr firstRow="1" bandRow="1">
                <a:tableStyleId>{21E4AEA4-8DFA-4A89-87EB-49C32662AFE0}</a:tableStyleId>
              </a:tblPr>
              <a:tblGrid>
                <a:gridCol w="4430486">
                  <a:extLst>
                    <a:ext uri="{9D8B030D-6E8A-4147-A177-3AD203B41FA5}">
                      <a16:colId xmlns:a16="http://schemas.microsoft.com/office/drawing/2014/main" val="4018181522"/>
                    </a:ext>
                  </a:extLst>
                </a:gridCol>
                <a:gridCol w="1970314">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dirty="0"/>
                        <a:t>Logistics</a:t>
                      </a:r>
                    </a:p>
                  </a:txBody>
                  <a:tcPr marL="91898" marR="91898" marT="45949" marB="45949"/>
                </a:tc>
                <a:tc>
                  <a:txBody>
                    <a:bodyPr/>
                    <a:lstStyle/>
                    <a:p>
                      <a:r>
                        <a:rPr lang="en-US" sz="2000"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dirty="0"/>
                        <a:t>Overview</a:t>
                      </a:r>
                    </a:p>
                  </a:txBody>
                  <a:tcPr marL="91898" marR="91898" marT="45949" marB="45949"/>
                </a:tc>
                <a:tc>
                  <a:txBody>
                    <a:bodyPr/>
                    <a:lstStyle/>
                    <a:p>
                      <a:r>
                        <a:rPr lang="en-US" sz="2000" dirty="0"/>
                        <a:t>9:45am</a:t>
                      </a:r>
                    </a:p>
                  </a:txBody>
                  <a:tcPr marL="91898" marR="91898" marT="45949" marB="45949"/>
                </a:tc>
                <a:extLst>
                  <a:ext uri="{0D108BD9-81ED-4DB2-BD59-A6C34878D82A}">
                    <a16:rowId xmlns:a16="http://schemas.microsoft.com/office/drawing/2014/main" val="1615664802"/>
                  </a:ext>
                </a:extLst>
              </a:tr>
              <a:tr h="664772">
                <a:tc>
                  <a:txBody>
                    <a:bodyPr/>
                    <a:lstStyle/>
                    <a:p>
                      <a:r>
                        <a:rPr lang="en-US" sz="2000" dirty="0"/>
                        <a:t>Enrollment Setup, Management Groups</a:t>
                      </a:r>
                    </a:p>
                  </a:txBody>
                  <a:tcPr marL="91898" marR="91898" marT="45949" marB="45949"/>
                </a:tc>
                <a:tc>
                  <a:txBody>
                    <a:bodyPr/>
                    <a:lstStyle/>
                    <a:p>
                      <a:r>
                        <a:rPr lang="en-US" sz="2000" dirty="0"/>
                        <a:t>10:00 – 10: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dirty="0"/>
                        <a:t>Challenge </a:t>
                      </a:r>
                    </a:p>
                  </a:txBody>
                  <a:tcPr marL="91898" marR="91898" marT="45949" marB="45949"/>
                </a:tc>
                <a:tc>
                  <a:txBody>
                    <a:bodyPr/>
                    <a:lstStyle/>
                    <a:p>
                      <a:r>
                        <a:rPr lang="en-US" sz="2000" dirty="0"/>
                        <a:t>10:30 – 11:00am</a:t>
                      </a:r>
                    </a:p>
                  </a:txBody>
                  <a:tcPr marL="91898" marR="91898" marT="45949" marB="45949"/>
                </a:tc>
                <a:extLst>
                  <a:ext uri="{0D108BD9-81ED-4DB2-BD59-A6C34878D82A}">
                    <a16:rowId xmlns:a16="http://schemas.microsoft.com/office/drawing/2014/main" val="2312324020"/>
                  </a:ext>
                </a:extLst>
              </a:tr>
              <a:tr h="394552">
                <a:tc>
                  <a:txBody>
                    <a:bodyPr/>
                    <a:lstStyle/>
                    <a:p>
                      <a:r>
                        <a:rPr lang="en-US" sz="2000" dirty="0"/>
                        <a:t>Azure Policy and RBAC</a:t>
                      </a:r>
                    </a:p>
                  </a:txBody>
                  <a:tcPr marL="91898" marR="91898" marT="45949" marB="45949"/>
                </a:tc>
                <a:tc>
                  <a:txBody>
                    <a:bodyPr/>
                    <a:lstStyle/>
                    <a:p>
                      <a:r>
                        <a:rPr lang="en-US" sz="2000" dirty="0"/>
                        <a:t>11:00 – 11:3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dirty="0"/>
                        <a:t>Challenge</a:t>
                      </a:r>
                    </a:p>
                  </a:txBody>
                  <a:tcPr marL="91898" marR="91898" marT="45949" marB="45949"/>
                </a:tc>
                <a:tc>
                  <a:txBody>
                    <a:bodyPr/>
                    <a:lstStyle/>
                    <a:p>
                      <a:r>
                        <a:rPr lang="en-US" sz="2000" dirty="0"/>
                        <a:t>11:3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dirty="0"/>
                        <a:t>Lunch</a:t>
                      </a:r>
                    </a:p>
                  </a:txBody>
                  <a:tcPr marL="91898" marR="91898" marT="45949" marB="45949"/>
                </a:tc>
                <a:tc>
                  <a:txBody>
                    <a:bodyPr/>
                    <a:lstStyle/>
                    <a:p>
                      <a:r>
                        <a:rPr lang="en-US" sz="2000"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dirty="0"/>
                        <a:t>Blueprints</a:t>
                      </a:r>
                    </a:p>
                  </a:txBody>
                  <a:tcPr marL="91898" marR="91898" marT="45949" marB="45949"/>
                </a:tc>
                <a:tc>
                  <a:txBody>
                    <a:bodyPr/>
                    <a:lstStyle/>
                    <a:p>
                      <a:r>
                        <a:rPr lang="en-US" sz="2000"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dirty="0"/>
                        <a:t>Challenge</a:t>
                      </a:r>
                    </a:p>
                  </a:txBody>
                  <a:tcPr marL="91898" marR="91898" marT="45949" marB="45949"/>
                </a:tc>
                <a:tc>
                  <a:txBody>
                    <a:bodyPr/>
                    <a:lstStyle/>
                    <a:p>
                      <a:r>
                        <a:rPr lang="en-US" sz="2000"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285883187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0D72A-FB6A-4A9B-9FF5-C5FE3D3E5D73}"/>
              </a:ext>
            </a:extLst>
          </p:cNvPr>
          <p:cNvSpPr>
            <a:spLocks noGrp="1"/>
          </p:cNvSpPr>
          <p:nvPr>
            <p:ph type="title"/>
          </p:nvPr>
        </p:nvSpPr>
        <p:spPr>
          <a:xfrm>
            <a:off x="455995" y="555176"/>
            <a:ext cx="11306469" cy="520422"/>
          </a:xfrm>
        </p:spPr>
        <p:txBody>
          <a:bodyPr/>
          <a:lstStyle/>
          <a:p>
            <a:r>
              <a:rPr lang="en-US" sz="3600" dirty="0"/>
              <a:t>Azure Role-based Access (RBAC)</a:t>
            </a:r>
          </a:p>
        </p:txBody>
      </p:sp>
      <p:sp>
        <p:nvSpPr>
          <p:cNvPr id="3" name="Footer Placeholder 2">
            <a:extLst>
              <a:ext uri="{FF2B5EF4-FFF2-40B4-BE49-F238E27FC236}">
                <a16:creationId xmlns:a16="http://schemas.microsoft.com/office/drawing/2014/main" id="{773850D5-B382-4348-8441-C55E37814800}"/>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 name="TextBox 3">
            <a:extLst>
              <a:ext uri="{FF2B5EF4-FFF2-40B4-BE49-F238E27FC236}">
                <a16:creationId xmlns:a16="http://schemas.microsoft.com/office/drawing/2014/main" id="{CE7AA056-0170-41A4-84E5-D89D3E0B9A6F}"/>
              </a:ext>
            </a:extLst>
          </p:cNvPr>
          <p:cNvSpPr txBox="1"/>
          <p:nvPr/>
        </p:nvSpPr>
        <p:spPr>
          <a:xfrm>
            <a:off x="45599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How to put it to work for you</a:t>
            </a:r>
          </a:p>
        </p:txBody>
      </p:sp>
      <p:sp>
        <p:nvSpPr>
          <p:cNvPr id="18" name="TextBox 17">
            <a:extLst>
              <a:ext uri="{FF2B5EF4-FFF2-40B4-BE49-F238E27FC236}">
                <a16:creationId xmlns:a16="http://schemas.microsoft.com/office/drawing/2014/main" id="{64C096E4-7699-40F5-B091-3D91F634C084}"/>
              </a:ext>
            </a:extLst>
          </p:cNvPr>
          <p:cNvSpPr txBox="1"/>
          <p:nvPr/>
        </p:nvSpPr>
        <p:spPr>
          <a:xfrm>
            <a:off x="0" y="1841182"/>
            <a:ext cx="11067399" cy="2788162"/>
          </a:xfrm>
          <a:prstGeom prst="rect">
            <a:avLst/>
          </a:prstGeom>
          <a:noFill/>
        </p:spPr>
        <p:txBody>
          <a:bodyPr wrap="square" lIns="179285" tIns="143428" rIns="179285" bIns="143428" rtlCol="0">
            <a:spAutoFit/>
          </a:bodyPr>
          <a:lstStyle/>
          <a:p>
            <a:pPr marL="280121" indent="-280121">
              <a:lnSpc>
                <a:spcPct val="90000"/>
              </a:lnSpc>
              <a:spcAft>
                <a:spcPts val="588"/>
              </a:spcAft>
              <a:buFont typeface="Arial" panose="020B0604020202020204" pitchFamily="34" charset="0"/>
              <a:buChar char="•"/>
            </a:pPr>
            <a:r>
              <a:rPr lang="en-US" sz="1765" dirty="0"/>
              <a:t>Grant users the least privilege to get their work done</a:t>
            </a:r>
          </a:p>
          <a:p>
            <a:pPr marL="280121" indent="-280121">
              <a:lnSpc>
                <a:spcPct val="90000"/>
              </a:lnSpc>
              <a:spcAft>
                <a:spcPts val="588"/>
              </a:spcAft>
              <a:buFont typeface="Arial" panose="020B0604020202020204" pitchFamily="34" charset="0"/>
              <a:buChar char="•"/>
            </a:pPr>
            <a:r>
              <a:rPr lang="en-US" sz="1765" dirty="0"/>
              <a:t>Apply rights as globally as possible (leverage management groups)</a:t>
            </a:r>
          </a:p>
          <a:p>
            <a:pPr marL="280121" indent="-280121">
              <a:lnSpc>
                <a:spcPct val="90000"/>
              </a:lnSpc>
              <a:spcAft>
                <a:spcPts val="588"/>
              </a:spcAft>
              <a:buFont typeface="Arial" panose="020B0604020202020204" pitchFamily="34" charset="0"/>
              <a:buChar char="•"/>
            </a:pPr>
            <a:r>
              <a:rPr lang="en-US" sz="1765" dirty="0"/>
              <a:t>Use RBAC (and resource groups) to allow separate teams to work within a single subscriptions</a:t>
            </a:r>
          </a:p>
          <a:p>
            <a:pPr marL="280121" indent="-280121">
              <a:lnSpc>
                <a:spcPct val="90000"/>
              </a:lnSpc>
              <a:spcAft>
                <a:spcPts val="588"/>
              </a:spcAft>
              <a:buFont typeface="Arial" panose="020B0604020202020204" pitchFamily="34" charset="0"/>
              <a:buChar char="•"/>
            </a:pPr>
            <a:r>
              <a:rPr lang="en-US" sz="1765" dirty="0"/>
              <a:t>Automatically apply to linked services like Azure Security Center, etc.</a:t>
            </a:r>
          </a:p>
          <a:p>
            <a:pPr marL="280121" indent="-280121">
              <a:lnSpc>
                <a:spcPct val="90000"/>
              </a:lnSpc>
              <a:spcAft>
                <a:spcPts val="588"/>
              </a:spcAft>
              <a:buFont typeface="Arial" panose="020B0604020202020204" pitchFamily="34" charset="0"/>
              <a:buChar char="•"/>
            </a:pPr>
            <a:r>
              <a:rPr lang="en-US" sz="1765" dirty="0"/>
              <a:t>Leverage Microsoft-created roles.  100% custom roles must be maintained by YOU</a:t>
            </a:r>
          </a:p>
          <a:p>
            <a:pPr marL="280121" indent="-280121">
              <a:lnSpc>
                <a:spcPct val="90000"/>
              </a:lnSpc>
              <a:spcAft>
                <a:spcPts val="588"/>
              </a:spcAft>
              <a:buFont typeface="Arial" panose="020B0604020202020204" pitchFamily="34" charset="0"/>
              <a:buChar char="•"/>
            </a:pPr>
            <a:r>
              <a:rPr lang="en-US" sz="1765" dirty="0"/>
              <a:t>Be mindful of service dependencies (i.e. VM creation requires you to create compute, disk, and NIC resources)</a:t>
            </a:r>
          </a:p>
          <a:p>
            <a:pPr marL="280121" indent="-280121">
              <a:lnSpc>
                <a:spcPct val="90000"/>
              </a:lnSpc>
              <a:spcAft>
                <a:spcPts val="588"/>
              </a:spcAft>
              <a:buFont typeface="Arial" panose="020B0604020202020204" pitchFamily="34" charset="0"/>
              <a:buChar char="•"/>
            </a:pPr>
            <a:endParaRPr lang="en-US" sz="2353" dirty="0">
              <a:gradFill>
                <a:gsLst>
                  <a:gs pos="2917">
                    <a:schemeClr val="tx1"/>
                  </a:gs>
                  <a:gs pos="30000">
                    <a:schemeClr val="tx1"/>
                  </a:gs>
                </a:gsLst>
                <a:lin ang="5400000" scaled="0"/>
              </a:gradFill>
            </a:endParaRPr>
          </a:p>
        </p:txBody>
      </p:sp>
      <p:pic>
        <p:nvPicPr>
          <p:cNvPr id="19" name="Picture 9" descr="RBAC and least privilege">
            <a:extLst>
              <a:ext uri="{FF2B5EF4-FFF2-40B4-BE49-F238E27FC236}">
                <a16:creationId xmlns:a16="http://schemas.microsoft.com/office/drawing/2014/main" id="{BDECECC0-A06F-478D-9DC2-2AD09F010AC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54487" y="3894909"/>
            <a:ext cx="6142072" cy="2872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497091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solidFill>
                  <a:schemeClr val="tx1"/>
                </a:solidFill>
              </a:rPr>
              <a:t>Resource </a:t>
            </a:r>
            <a:r>
              <a:rPr lang="en-US" dirty="0" err="1">
                <a:solidFill>
                  <a:schemeClr val="tx1"/>
                </a:solidFill>
              </a:rPr>
              <a:t>LockS</a:t>
            </a:r>
            <a:endParaRPr lang="de-CH" dirty="0">
              <a:solidFill>
                <a:schemeClr val="tx1"/>
              </a:solidFill>
            </a:endParaRPr>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2011509"/>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a:xfrm>
            <a:off x="9353550" y="7102484"/>
            <a:ext cx="2844800" cy="365125"/>
          </a:xfrm>
        </p:spPr>
        <p:txBody>
          <a:bodyPr/>
          <a:lstStyle/>
          <a:p>
            <a:pPr>
              <a:defRPr/>
            </a:pPr>
            <a:fld id="{A0AE9EC9-F182-4A35-8041-CBBE9CFA6E78}" type="slidenum">
              <a:rPr lang="en-US" smtClean="0"/>
              <a:pPr>
                <a:defRPr/>
              </a:pPr>
              <a:t>31</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2011962"/>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2011509"/>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2476955"/>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2476955"/>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869795"/>
            <a:ext cx="4218778"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t>Lock a Subscription, resource group, or resource to prevent accidental deletion or modification.</a:t>
            </a:r>
          </a:p>
          <a:p>
            <a:pPr marL="285750" indent="-285750">
              <a:buFont typeface="Arial" panose="020B0604020202020204" pitchFamily="34" charset="0"/>
              <a:buChar char="•"/>
            </a:pPr>
            <a:r>
              <a:rPr lang="en-US" sz="1400" b="1" dirty="0" err="1"/>
              <a:t>CanNotDelete</a:t>
            </a:r>
            <a:r>
              <a:rPr lang="en-US" sz="1400" b="1" dirty="0"/>
              <a:t> / </a:t>
            </a:r>
            <a:r>
              <a:rPr lang="en-US" sz="1400" b="1" dirty="0" err="1"/>
              <a:t>ReadOnly</a:t>
            </a:r>
            <a:r>
              <a:rPr lang="en-US" sz="1400" b="1" dirty="0"/>
              <a:t> </a:t>
            </a:r>
          </a:p>
          <a:p>
            <a:pPr marL="285750" indent="-285750">
              <a:buFont typeface="Arial" panose="020B0604020202020204" pitchFamily="34" charset="0"/>
              <a:buChar char="•"/>
            </a:pPr>
            <a:r>
              <a:rPr lang="en-US" sz="1400" dirty="0"/>
              <a:t>Locks apply only to management operations, not to resources functions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b="1" dirty="0"/>
              <a:t>Caution</a:t>
            </a:r>
            <a:r>
              <a:rPr lang="en-US" sz="1400" dirty="0"/>
              <a:t>: </a:t>
            </a:r>
            <a:r>
              <a:rPr lang="en-US" sz="1400" dirty="0" err="1"/>
              <a:t>ReadOnly</a:t>
            </a:r>
            <a:r>
              <a:rPr lang="en-US" sz="1400" dirty="0"/>
              <a:t> can cause unexpected results</a:t>
            </a:r>
          </a:p>
          <a:p>
            <a:pPr marL="742950" lvl="1" indent="-285750">
              <a:buFont typeface="Arial" panose="020B0604020202020204" pitchFamily="34" charset="0"/>
              <a:buChar char="•"/>
            </a:pPr>
            <a:r>
              <a:rPr lang="en-US" sz="1400" dirty="0"/>
              <a:t>Lock on a storage account prevents all users from listing keys</a:t>
            </a:r>
          </a:p>
          <a:p>
            <a:pPr marL="742950" lvl="1" indent="-285750">
              <a:buFont typeface="Arial" panose="020B0604020202020204" pitchFamily="34" charset="0"/>
              <a:buChar char="•"/>
            </a:pPr>
            <a:r>
              <a:rPr lang="en-US" sz="1400" dirty="0"/>
              <a:t>Lock on App Service prevents Visual Studio Server Explorer from displaying files for the resource because that interaction requires write access</a:t>
            </a:r>
            <a:endParaRPr lang="de-CH" sz="1400" dirty="0"/>
          </a:p>
        </p:txBody>
      </p:sp>
      <p:sp>
        <p:nvSpPr>
          <p:cNvPr id="3" name="TextBox 2">
            <a:extLst>
              <a:ext uri="{FF2B5EF4-FFF2-40B4-BE49-F238E27FC236}">
                <a16:creationId xmlns:a16="http://schemas.microsoft.com/office/drawing/2014/main" id="{7C9D471C-2F57-4AAC-9DCD-95662D511313}"/>
              </a:ext>
            </a:extLst>
          </p:cNvPr>
          <p:cNvSpPr txBox="1"/>
          <p:nvPr/>
        </p:nvSpPr>
        <p:spPr>
          <a:xfrm>
            <a:off x="8686800" y="5802086"/>
            <a:ext cx="3232156" cy="369332"/>
          </a:xfrm>
          <a:prstGeom prst="rect">
            <a:avLst/>
          </a:prstGeom>
          <a:noFill/>
        </p:spPr>
        <p:txBody>
          <a:bodyPr wrap="square" rtlCol="0">
            <a:spAutoFit/>
          </a:bodyPr>
          <a:lstStyle/>
          <a:p>
            <a:r>
              <a:rPr lang="en-US" dirty="0">
                <a:highlight>
                  <a:srgbClr val="FFFF00"/>
                </a:highlight>
              </a:rPr>
              <a:t>Soft deletes</a:t>
            </a:r>
          </a:p>
        </p:txBody>
      </p:sp>
    </p:spTree>
    <p:extLst>
      <p:ext uri="{BB962C8B-B14F-4D97-AF65-F5344CB8AC3E}">
        <p14:creationId xmlns:p14="http://schemas.microsoft.com/office/powerpoint/2010/main" val="5595557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
        <p:nvSpPr>
          <p:cNvPr id="5" name="Text Placeholder 4">
            <a:extLst>
              <a:ext uri="{FF2B5EF4-FFF2-40B4-BE49-F238E27FC236}">
                <a16:creationId xmlns:a16="http://schemas.microsoft.com/office/drawing/2014/main" id="{E73F3586-7F3E-407B-BD80-4C19B161078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4040701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445316"/>
            <a:ext cx="8799471" cy="928289"/>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Enrollment</a:t>
              </a:r>
            </a:p>
            <a:p>
              <a:pPr algn="l" defTabSz="914192">
                <a:defRPr/>
              </a:pPr>
              <a:r>
                <a:rPr lang="en-US" b="0" dirty="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a:cxnSpLocks/>
            </p:cNvCxnSpPr>
            <p:nvPr/>
          </p:nvCxnSpPr>
          <p:spPr>
            <a:xfrm>
              <a:off x="9302765" y="4059258"/>
              <a:ext cx="2086215" cy="22517"/>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accent4"/>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chemeClr val="accent4"/>
                  </a:solidFill>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dirty="0">
                <a:solidFill>
                  <a:schemeClr val="accent4"/>
                </a:solidFill>
                <a:latin typeface="Segoe UI" charset="0"/>
                <a:cs typeface="Segoe UI" charset="0"/>
              </a:rPr>
              <a:t>Control</a:t>
            </a:r>
          </a:p>
        </p:txBody>
      </p:sp>
    </p:spTree>
    <p:extLst>
      <p:ext uri="{BB962C8B-B14F-4D97-AF65-F5344CB8AC3E}">
        <p14:creationId xmlns:p14="http://schemas.microsoft.com/office/powerpoint/2010/main" val="2868317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697019"/>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698086"/>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698086"/>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842442"/>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latin typeface="Segoe UI" panose="020B0502040204020203" pitchFamily="34" charset="0"/>
                <a:cs typeface="Segoe UI" panose="020B0502040204020203" pitchFamily="34" charset="0"/>
              </a:rPr>
              <a:t>Turn on built-in policies </a:t>
            </a:r>
            <a:br>
              <a:rPr lang="en-US" sz="1371">
                <a:latin typeface="Segoe UI" panose="020B0502040204020203" pitchFamily="34" charset="0"/>
                <a:cs typeface="Segoe UI" panose="020B0502040204020203" pitchFamily="34" charset="0"/>
              </a:rPr>
            </a:br>
            <a:r>
              <a:rPr lang="en-US" sz="1371">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685063"/>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428731"/>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892546"/>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chemeClr val="tx1"/>
                </a:solidFill>
              </a:rPr>
              <a:t>Apply policies to a Management Group with control across your </a:t>
            </a:r>
            <a:br>
              <a:rPr lang="en-US" sz="1371" kern="0">
                <a:solidFill>
                  <a:schemeClr val="tx1"/>
                </a:solidFill>
              </a:rPr>
            </a:br>
            <a:r>
              <a:rPr lang="en-US" sz="1371" kern="0">
                <a:solidFill>
                  <a:schemeClr val="tx1"/>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658510"/>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chemeClr val="tx1"/>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999657"/>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dirty="0">
                <a:solidFill>
                  <a:schemeClr val="tx1"/>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719560"/>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chemeClr val="tx1"/>
                </a:solidFill>
              </a:rPr>
              <a:t>Remediation on existing resources </a:t>
            </a:r>
            <a:r>
              <a:rPr lang="en-US" sz="1600">
                <a:solidFill>
                  <a:schemeClr val="tx1"/>
                </a:solidFill>
              </a:rPr>
              <a:t>(</a:t>
            </a:r>
            <a:r>
              <a:rPr lang="en-US" sz="1400" kern="0">
                <a:solidFill>
                  <a:schemeClr val="tx1"/>
                </a:solidFill>
                <a:latin typeface="Segoe UI Semibold" panose="020B0702040204020203" pitchFamily="34" charset="0"/>
                <a:cs typeface="Segoe UI Semibold" panose="020B0702040204020203" pitchFamily="34" charset="0"/>
              </a:rPr>
              <a:t>NEW</a:t>
            </a:r>
            <a:r>
              <a:rPr lang="en-US" sz="1600">
                <a:solidFill>
                  <a:schemeClr val="tx1"/>
                </a:solidFill>
              </a:rPr>
              <a:t>)</a:t>
            </a:r>
            <a:endParaRPr lang="en-US" sz="1371" kern="0">
              <a:solidFill>
                <a:schemeClr val="tx1"/>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2281628"/>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2323716"/>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999657"/>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777697"/>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490410"/>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999657"/>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908721"/>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3025220"/>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777697"/>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2008345"/>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2049744"/>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0B0F0"/>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2014976"/>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523741"/>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chemeClr val="tx1"/>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592623"/>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178929" y="555600"/>
            <a:ext cx="10991275" cy="553982"/>
          </a:xfrm>
        </p:spPr>
        <p:txBody>
          <a:bodyPr>
            <a:normAutofit fontScale="90000"/>
          </a:bodyPr>
          <a:lstStyle/>
          <a:p>
            <a:r>
              <a:rPr lang="en-US" dirty="0">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5123233"/>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latin typeface="Segoe UI" panose="020B0502040204020203" pitchFamily="34" charset="0"/>
                <a:cs typeface="Segoe UI" panose="020B0502040204020203" pitchFamily="34" charset="0"/>
              </a:rPr>
              <a:t>VM In-Guest Policy (</a:t>
            </a:r>
            <a:r>
              <a:rPr lang="en-US" sz="1200" kern="0">
                <a:latin typeface="Segoe UI Semibold" panose="020B0702040204020203" pitchFamily="34" charset="0"/>
                <a:cs typeface="Segoe UI Semibold" panose="020B0702040204020203" pitchFamily="34" charset="0"/>
              </a:rPr>
              <a:t>NEW</a:t>
            </a:r>
            <a:r>
              <a:rPr lang="en-US" sz="1371">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5184913"/>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11516315" y="310470"/>
            <a:ext cx="496756" cy="496756"/>
          </a:xfrm>
          <a:prstGeom prst="rect">
            <a:avLst/>
          </a:prstGeom>
        </p:spPr>
      </p:pic>
    </p:spTree>
    <p:extLst>
      <p:ext uri="{BB962C8B-B14F-4D97-AF65-F5344CB8AC3E}">
        <p14:creationId xmlns:p14="http://schemas.microsoft.com/office/powerpoint/2010/main" val="192654924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6D0EA-C80F-4C1A-8B91-A30006B12F55}"/>
              </a:ext>
            </a:extLst>
          </p:cNvPr>
          <p:cNvSpPr>
            <a:spLocks noGrp="1"/>
          </p:cNvSpPr>
          <p:nvPr>
            <p:ph type="title"/>
          </p:nvPr>
        </p:nvSpPr>
        <p:spPr>
          <a:xfrm>
            <a:off x="646885" y="453141"/>
            <a:ext cx="9403389" cy="1400331"/>
          </a:xfrm>
        </p:spPr>
        <p:txBody>
          <a:bodyPr vert="horz" wrap="square" lIns="91427" tIns="45713" rIns="91427" bIns="45713" rtlCol="0" anchor="t">
            <a:normAutofit/>
          </a:bodyPr>
          <a:lstStyle/>
          <a:p>
            <a:r>
              <a:rPr lang="en-US"/>
              <a:t>How does it work?</a:t>
            </a:r>
          </a:p>
        </p:txBody>
      </p:sp>
      <p:graphicFrame>
        <p:nvGraphicFramePr>
          <p:cNvPr id="5" name="Content Placeholder 2">
            <a:extLst>
              <a:ext uri="{FF2B5EF4-FFF2-40B4-BE49-F238E27FC236}">
                <a16:creationId xmlns:a16="http://schemas.microsoft.com/office/drawing/2014/main" id="{F28A0792-C743-404B-91F4-9D4436CBBF3A}"/>
              </a:ext>
            </a:extLst>
          </p:cNvPr>
          <p:cNvGraphicFramePr>
            <a:graphicFrameLocks noGrp="1"/>
          </p:cNvGraphicFramePr>
          <p:nvPr>
            <p:ph sz="half" idx="1"/>
          </p:nvPr>
        </p:nvGraphicFramePr>
        <p:xfrm>
          <a:off x="646884" y="2140268"/>
          <a:ext cx="9403018" cy="40558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063553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5BA91-73FD-4B38-B43D-A9F790189DF9}"/>
              </a:ext>
            </a:extLst>
          </p:cNvPr>
          <p:cNvSpPr>
            <a:spLocks noGrp="1"/>
          </p:cNvSpPr>
          <p:nvPr>
            <p:ph type="title"/>
          </p:nvPr>
        </p:nvSpPr>
        <p:spPr/>
        <p:txBody>
          <a:bodyPr/>
          <a:lstStyle/>
          <a:p>
            <a:r>
              <a:rPr lang="en-US" dirty="0"/>
              <a:t>Azure Policy</a:t>
            </a:r>
          </a:p>
        </p:txBody>
      </p:sp>
      <p:sp>
        <p:nvSpPr>
          <p:cNvPr id="3" name="Footer Placeholder 2">
            <a:extLst>
              <a:ext uri="{FF2B5EF4-FFF2-40B4-BE49-F238E27FC236}">
                <a16:creationId xmlns:a16="http://schemas.microsoft.com/office/drawing/2014/main" id="{11B10F8D-1BB7-4831-B255-C42886983126}"/>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grpSp>
        <p:nvGrpSpPr>
          <p:cNvPr id="4" name="Group 3">
            <a:extLst>
              <a:ext uri="{FF2B5EF4-FFF2-40B4-BE49-F238E27FC236}">
                <a16:creationId xmlns:a16="http://schemas.microsoft.com/office/drawing/2014/main" id="{0D01177B-CA58-46AC-84EF-11B5B4E9D9A6}"/>
              </a:ext>
            </a:extLst>
          </p:cNvPr>
          <p:cNvGrpSpPr/>
          <p:nvPr/>
        </p:nvGrpSpPr>
        <p:grpSpPr>
          <a:xfrm>
            <a:off x="9092289" y="196508"/>
            <a:ext cx="2906810" cy="1300297"/>
            <a:chOff x="9274608" y="199951"/>
            <a:chExt cx="2965098" cy="1326371"/>
          </a:xfrm>
        </p:grpSpPr>
        <p:sp>
          <p:nvSpPr>
            <p:cNvPr id="5" name="Rectangle 4">
              <a:extLst>
                <a:ext uri="{FF2B5EF4-FFF2-40B4-BE49-F238E27FC236}">
                  <a16:creationId xmlns:a16="http://schemas.microsoft.com/office/drawing/2014/main" id="{F6E35847-1761-4E62-B015-DED5B4B00113}"/>
                </a:ext>
              </a:extLst>
            </p:cNvPr>
            <p:cNvSpPr/>
            <p:nvPr/>
          </p:nvSpPr>
          <p:spPr bwMode="auto">
            <a:xfrm>
              <a:off x="9274608" y="199951"/>
              <a:ext cx="2965098" cy="1326371"/>
            </a:xfrm>
            <a:prstGeom prst="rect">
              <a:avLst/>
            </a:prstGeom>
            <a:solidFill>
              <a:schemeClr val="bg1"/>
            </a:solidFill>
            <a:ln w="15875" cap="flat" cmpd="sng" algn="ctr">
              <a:solidFill>
                <a:schemeClr val="accent1"/>
              </a:solidFill>
              <a:prstDash val="soli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kern="0" err="1">
                <a:gradFill>
                  <a:gsLst>
                    <a:gs pos="0">
                      <a:srgbClr val="FFFFFF"/>
                    </a:gs>
                    <a:gs pos="100000">
                      <a:srgbClr val="FFFFFF"/>
                    </a:gs>
                  </a:gsLst>
                  <a:lin ang="5400000" scaled="0"/>
                </a:gradFill>
                <a:latin typeface="Segoe UI Semilight"/>
              </a:endParaRPr>
            </a:p>
          </p:txBody>
        </p:sp>
        <p:grpSp>
          <p:nvGrpSpPr>
            <p:cNvPr id="6" name="Group 5">
              <a:extLst>
                <a:ext uri="{FF2B5EF4-FFF2-40B4-BE49-F238E27FC236}">
                  <a16:creationId xmlns:a16="http://schemas.microsoft.com/office/drawing/2014/main" id="{24136D63-A269-4431-9138-E9F2196AA433}"/>
                </a:ext>
              </a:extLst>
            </p:cNvPr>
            <p:cNvGrpSpPr/>
            <p:nvPr/>
          </p:nvGrpSpPr>
          <p:grpSpPr>
            <a:xfrm>
              <a:off x="10311260" y="329937"/>
              <a:ext cx="1884096" cy="1066398"/>
              <a:chOff x="10508030" y="206704"/>
              <a:chExt cx="1884096" cy="1066398"/>
            </a:xfrm>
          </p:grpSpPr>
          <p:grpSp>
            <p:nvGrpSpPr>
              <p:cNvPr id="8" name="Group 7">
                <a:extLst>
                  <a:ext uri="{FF2B5EF4-FFF2-40B4-BE49-F238E27FC236}">
                    <a16:creationId xmlns:a16="http://schemas.microsoft.com/office/drawing/2014/main" id="{979B5395-CA26-4A57-AB71-18C098C28A98}"/>
                  </a:ext>
                </a:extLst>
              </p:cNvPr>
              <p:cNvGrpSpPr/>
              <p:nvPr/>
            </p:nvGrpSpPr>
            <p:grpSpPr>
              <a:xfrm>
                <a:off x="10508030" y="206704"/>
                <a:ext cx="1884096" cy="350312"/>
                <a:chOff x="10397252" y="449376"/>
                <a:chExt cx="1884096" cy="350312"/>
              </a:xfrm>
            </p:grpSpPr>
            <p:sp>
              <p:nvSpPr>
                <p:cNvPr id="15" name="Title 2">
                  <a:extLst>
                    <a:ext uri="{FF2B5EF4-FFF2-40B4-BE49-F238E27FC236}">
                      <a16:creationId xmlns:a16="http://schemas.microsoft.com/office/drawing/2014/main" id="{080A3B60-663C-4967-83D3-AEF3FD21EB0E}"/>
                    </a:ext>
                  </a:extLst>
                </p:cNvPr>
                <p:cNvSpPr txBox="1">
                  <a:spLocks/>
                </p:cNvSpPr>
                <p:nvPr/>
              </p:nvSpPr>
              <p:spPr>
                <a:xfrm>
                  <a:off x="10730746" y="449376"/>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sz="1078" spc="0">
                      <a:solidFill>
                        <a:schemeClr val="tx1"/>
                      </a:solidFill>
                    </a:rPr>
                    <a:t>Ensure </a:t>
                  </a:r>
                  <a:r>
                    <a:rPr lang="en-US" sz="1078" spc="0">
                      <a:solidFill>
                        <a:schemeClr val="tx1"/>
                      </a:solidFill>
                    </a:rPr>
                    <a:t>c</a:t>
                  </a:r>
                  <a:r>
                    <a:rPr sz="1078" spc="0">
                      <a:solidFill>
                        <a:schemeClr val="tx1"/>
                      </a:solidFill>
                    </a:rPr>
                    <a:t>ompliance</a:t>
                  </a:r>
                </a:p>
              </p:txBody>
            </p:sp>
            <p:sp>
              <p:nvSpPr>
                <p:cNvPr id="16" name="Oval 15">
                  <a:extLst>
                    <a:ext uri="{FF2B5EF4-FFF2-40B4-BE49-F238E27FC236}">
                      <a16:creationId xmlns:a16="http://schemas.microsoft.com/office/drawing/2014/main" id="{2F51A1F0-B908-435D-B7F9-A890D38C00A6}"/>
                    </a:ext>
                  </a:extLst>
                </p:cNvPr>
                <p:cNvSpPr/>
                <p:nvPr/>
              </p:nvSpPr>
              <p:spPr bwMode="auto">
                <a:xfrm>
                  <a:off x="10397252" y="494038"/>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pPr>
                  <a:r>
                    <a:rPr lang="en-US" sz="1568" kern="0">
                      <a:solidFill>
                        <a:schemeClr val="tx2"/>
                      </a:solidFill>
                      <a:latin typeface="+mj-lt"/>
                    </a:rPr>
                    <a:t>1</a:t>
                  </a:r>
                </a:p>
              </p:txBody>
            </p:sp>
          </p:grpSp>
          <p:grpSp>
            <p:nvGrpSpPr>
              <p:cNvPr id="9" name="Group 8">
                <a:extLst>
                  <a:ext uri="{FF2B5EF4-FFF2-40B4-BE49-F238E27FC236}">
                    <a16:creationId xmlns:a16="http://schemas.microsoft.com/office/drawing/2014/main" id="{1486C0F5-0FAF-4F72-8DC5-939C01A7AA6E}"/>
                  </a:ext>
                </a:extLst>
              </p:cNvPr>
              <p:cNvGrpSpPr/>
              <p:nvPr/>
            </p:nvGrpSpPr>
            <p:grpSpPr>
              <a:xfrm>
                <a:off x="10508030" y="922790"/>
                <a:ext cx="1884096" cy="350312"/>
                <a:chOff x="10397252" y="1165462"/>
                <a:chExt cx="1884096" cy="350312"/>
              </a:xfrm>
            </p:grpSpPr>
            <p:sp>
              <p:nvSpPr>
                <p:cNvPr id="13" name="Title 2">
                  <a:extLst>
                    <a:ext uri="{FF2B5EF4-FFF2-40B4-BE49-F238E27FC236}">
                      <a16:creationId xmlns:a16="http://schemas.microsoft.com/office/drawing/2014/main" id="{09BAF239-0639-47E5-87C4-E0CC4B66CFB4}"/>
                    </a:ext>
                  </a:extLst>
                </p:cNvPr>
                <p:cNvSpPr txBox="1">
                  <a:spLocks/>
                </p:cNvSpPr>
                <p:nvPr/>
              </p:nvSpPr>
              <p:spPr>
                <a:xfrm>
                  <a:off x="10730746" y="1165462"/>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sz="1078" spc="0" dirty="0">
                      <a:solidFill>
                        <a:schemeClr val="bg1">
                          <a:lumMod val="75000"/>
                        </a:schemeClr>
                      </a:solidFill>
                    </a:rPr>
                    <a:t>Manage </a:t>
                  </a:r>
                  <a:r>
                    <a:rPr lang="en-US" sz="1078" spc="0" dirty="0">
                      <a:solidFill>
                        <a:schemeClr val="bg1">
                          <a:lumMod val="75000"/>
                        </a:schemeClr>
                      </a:solidFill>
                    </a:rPr>
                    <a:t>c</a:t>
                  </a:r>
                  <a:r>
                    <a:rPr sz="1078" spc="0" dirty="0">
                      <a:solidFill>
                        <a:schemeClr val="bg1">
                          <a:lumMod val="75000"/>
                        </a:schemeClr>
                      </a:solidFill>
                    </a:rPr>
                    <a:t>osts</a:t>
                  </a:r>
                </a:p>
              </p:txBody>
            </p:sp>
            <p:sp>
              <p:nvSpPr>
                <p:cNvPr id="14" name="Oval 13">
                  <a:extLst>
                    <a:ext uri="{FF2B5EF4-FFF2-40B4-BE49-F238E27FC236}">
                      <a16:creationId xmlns:a16="http://schemas.microsoft.com/office/drawing/2014/main" id="{C3AAE9D8-1369-46F0-A805-F147635B4330}"/>
                    </a:ext>
                  </a:extLst>
                </p:cNvPr>
                <p:cNvSpPr/>
                <p:nvPr/>
              </p:nvSpPr>
              <p:spPr bwMode="auto">
                <a:xfrm>
                  <a:off x="10397252" y="1210124"/>
                  <a:ext cx="276376" cy="276376"/>
                </a:xfrm>
                <a:prstGeom prst="ellipse">
                  <a:avLst/>
                </a:prstGeom>
                <a:solidFill>
                  <a:schemeClr val="bg1"/>
                </a:solidFill>
                <a:ln w="10795" cap="flat" cmpd="sng" algn="ctr">
                  <a:solidFill>
                    <a:schemeClr val="bg2">
                      <a:lumMod val="8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pPr>
                  <a:r>
                    <a:rPr lang="en-US" sz="1078" kern="0">
                      <a:solidFill>
                        <a:schemeClr val="bg1">
                          <a:lumMod val="75000"/>
                        </a:schemeClr>
                      </a:solidFill>
                      <a:latin typeface="+mj-lt"/>
                    </a:rPr>
                    <a:t>3</a:t>
                  </a:r>
                </a:p>
              </p:txBody>
            </p:sp>
          </p:grpSp>
          <p:grpSp>
            <p:nvGrpSpPr>
              <p:cNvPr id="10" name="Group 9">
                <a:extLst>
                  <a:ext uri="{FF2B5EF4-FFF2-40B4-BE49-F238E27FC236}">
                    <a16:creationId xmlns:a16="http://schemas.microsoft.com/office/drawing/2014/main" id="{AE470219-8E83-4114-9A7F-980A2D555E9C}"/>
                  </a:ext>
                </a:extLst>
              </p:cNvPr>
              <p:cNvGrpSpPr/>
              <p:nvPr/>
            </p:nvGrpSpPr>
            <p:grpSpPr>
              <a:xfrm>
                <a:off x="10508030" y="565596"/>
                <a:ext cx="1884096" cy="350312"/>
                <a:chOff x="10397252" y="808268"/>
                <a:chExt cx="1884096" cy="350312"/>
              </a:xfrm>
            </p:grpSpPr>
            <p:sp>
              <p:nvSpPr>
                <p:cNvPr id="11" name="Title 2">
                  <a:extLst>
                    <a:ext uri="{FF2B5EF4-FFF2-40B4-BE49-F238E27FC236}">
                      <a16:creationId xmlns:a16="http://schemas.microsoft.com/office/drawing/2014/main" id="{9AA2F477-772F-441F-A814-02DF1CC23814}"/>
                    </a:ext>
                  </a:extLst>
                </p:cNvPr>
                <p:cNvSpPr txBox="1">
                  <a:spLocks/>
                </p:cNvSpPr>
                <p:nvPr/>
              </p:nvSpPr>
              <p:spPr>
                <a:xfrm>
                  <a:off x="10730746" y="808268"/>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chemeClr val="tx1"/>
                      </a:solidFill>
                    </a:rPr>
                    <a:t>Empower DevOps</a:t>
                  </a:r>
                  <a:endParaRPr sz="1078" spc="0">
                    <a:solidFill>
                      <a:schemeClr val="tx1"/>
                    </a:solidFill>
                  </a:endParaRPr>
                </a:p>
              </p:txBody>
            </p:sp>
            <p:sp>
              <p:nvSpPr>
                <p:cNvPr id="12" name="Oval 11">
                  <a:extLst>
                    <a:ext uri="{FF2B5EF4-FFF2-40B4-BE49-F238E27FC236}">
                      <a16:creationId xmlns:a16="http://schemas.microsoft.com/office/drawing/2014/main" id="{002E04D8-D65F-4360-A7C9-077C7C34FB38}"/>
                    </a:ext>
                  </a:extLst>
                </p:cNvPr>
                <p:cNvSpPr/>
                <p:nvPr/>
              </p:nvSpPr>
              <p:spPr bwMode="auto">
                <a:xfrm>
                  <a:off x="10397252" y="852930"/>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pPr>
                  <a:r>
                    <a:rPr lang="en-US" sz="1568" kern="0">
                      <a:solidFill>
                        <a:schemeClr val="tx2"/>
                      </a:solidFill>
                      <a:latin typeface="+mj-lt"/>
                    </a:rPr>
                    <a:t>2</a:t>
                  </a:r>
                </a:p>
              </p:txBody>
            </p:sp>
          </p:grpSp>
        </p:grpSp>
        <p:pic>
          <p:nvPicPr>
            <p:cNvPr id="7" name="Picture 6" descr="A close up of a logo&#10;&#10;Description generated with high confidence">
              <a:extLst>
                <a:ext uri="{FF2B5EF4-FFF2-40B4-BE49-F238E27FC236}">
                  <a16:creationId xmlns:a16="http://schemas.microsoft.com/office/drawing/2014/main" id="{5611DD98-7AE8-4DC3-8776-69C613F80E41}"/>
                </a:ext>
              </a:extLst>
            </p:cNvPr>
            <p:cNvPicPr>
              <a:picLocks noChangeAspect="1"/>
            </p:cNvPicPr>
            <p:nvPr/>
          </p:nvPicPr>
          <p:blipFill>
            <a:blip r:embed="rId2"/>
            <a:stretch>
              <a:fillRect/>
            </a:stretch>
          </p:blipFill>
          <p:spPr>
            <a:xfrm>
              <a:off x="9500227" y="578295"/>
              <a:ext cx="610490" cy="610490"/>
            </a:xfrm>
            <a:prstGeom prst="rect">
              <a:avLst/>
            </a:prstGeom>
          </p:spPr>
        </p:pic>
      </p:grpSp>
      <p:sp>
        <p:nvSpPr>
          <p:cNvPr id="17" name="TextBox 16">
            <a:extLst>
              <a:ext uri="{FF2B5EF4-FFF2-40B4-BE49-F238E27FC236}">
                <a16:creationId xmlns:a16="http://schemas.microsoft.com/office/drawing/2014/main" id="{CFC60B2F-BC1E-4125-AEC4-5219AA1B6F09}"/>
              </a:ext>
            </a:extLst>
          </p:cNvPr>
          <p:cNvSpPr txBox="1"/>
          <p:nvPr/>
        </p:nvSpPr>
        <p:spPr>
          <a:xfrm>
            <a:off x="455996" y="1052648"/>
            <a:ext cx="8091154"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Common use cases</a:t>
            </a:r>
          </a:p>
        </p:txBody>
      </p:sp>
      <p:sp>
        <p:nvSpPr>
          <p:cNvPr id="19" name="TextBox 18">
            <a:extLst>
              <a:ext uri="{FF2B5EF4-FFF2-40B4-BE49-F238E27FC236}">
                <a16:creationId xmlns:a16="http://schemas.microsoft.com/office/drawing/2014/main" id="{C49F3D99-4BA8-4681-9A3F-BF665FC99BFD}"/>
              </a:ext>
            </a:extLst>
          </p:cNvPr>
          <p:cNvSpPr txBox="1"/>
          <p:nvPr/>
        </p:nvSpPr>
        <p:spPr>
          <a:xfrm>
            <a:off x="455995" y="1875315"/>
            <a:ext cx="11586711" cy="4196368"/>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Limit allowed Azure VM Image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Limit allowed Azure regions/data center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Limit allowed resource type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Enforce tags and default value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missing Endpoint Protection in Security Center </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diagnostic setting</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accounts with owner permissions who are not MFA enabled on a subscription</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HTTPS only access for a Web Application</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that Windows VMs have a minimum password age of 1 day</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Enable Azure Monitor for VMs</a:t>
            </a:r>
          </a:p>
          <a:p>
            <a:pPr marL="336145" indent="-336145">
              <a:lnSpc>
                <a:spcPct val="90000"/>
              </a:lnSpc>
              <a:spcAft>
                <a:spcPts val="588"/>
              </a:spcAft>
              <a:buFont typeface="Arial" panose="020B0604020202020204" pitchFamily="34" charset="0"/>
              <a:buChar char="•"/>
            </a:pPr>
            <a:r>
              <a:rPr lang="en-US" sz="2059" dirty="0">
                <a:gradFill>
                  <a:gsLst>
                    <a:gs pos="2917">
                      <a:schemeClr val="tx1"/>
                    </a:gs>
                    <a:gs pos="30000">
                      <a:schemeClr val="tx1"/>
                    </a:gs>
                  </a:gsLst>
                  <a:lin ang="5400000" scaled="0"/>
                </a:gradFill>
              </a:rPr>
              <a:t>Audit ISO 27001:2013 controls and deploy specific VM Extensions to support audit requirements</a:t>
            </a:r>
          </a:p>
        </p:txBody>
      </p:sp>
    </p:spTree>
    <p:extLst>
      <p:ext uri="{BB962C8B-B14F-4D97-AF65-F5344CB8AC3E}">
        <p14:creationId xmlns:p14="http://schemas.microsoft.com/office/powerpoint/2010/main" val="93561993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8AC9F-FBF5-4AAD-8E85-616A9E570786}"/>
              </a:ext>
            </a:extLst>
          </p:cNvPr>
          <p:cNvSpPr>
            <a:spLocks noGrp="1"/>
          </p:cNvSpPr>
          <p:nvPr>
            <p:ph type="title"/>
          </p:nvPr>
        </p:nvSpPr>
        <p:spPr>
          <a:xfrm>
            <a:off x="646885" y="453141"/>
            <a:ext cx="9403389" cy="1400331"/>
          </a:xfrm>
        </p:spPr>
        <p:txBody>
          <a:bodyPr vert="horz" wrap="square" lIns="91427" tIns="45713" rIns="91427" bIns="45713" rtlCol="0" anchor="t">
            <a:normAutofit/>
          </a:bodyPr>
          <a:lstStyle/>
          <a:p>
            <a:r>
              <a:rPr lang="en-US" dirty="0"/>
              <a:t>Order of Evaluation</a:t>
            </a:r>
          </a:p>
        </p:txBody>
      </p:sp>
      <p:graphicFrame>
        <p:nvGraphicFramePr>
          <p:cNvPr id="36" name="Text Placeholder 2">
            <a:extLst>
              <a:ext uri="{FF2B5EF4-FFF2-40B4-BE49-F238E27FC236}">
                <a16:creationId xmlns:a16="http://schemas.microsoft.com/office/drawing/2014/main" id="{574FC6AA-DB36-4DAF-AD88-F56F68BF63E1}"/>
              </a:ext>
            </a:extLst>
          </p:cNvPr>
          <p:cNvGraphicFramePr/>
          <p:nvPr>
            <p:extLst>
              <p:ext uri="{D42A27DB-BD31-4B8C-83A1-F6EECF244321}">
                <p14:modId xmlns:p14="http://schemas.microsoft.com/office/powerpoint/2010/main" val="267750586"/>
              </p:ext>
            </p:extLst>
          </p:nvPr>
        </p:nvGraphicFramePr>
        <p:xfrm>
          <a:off x="5548024" y="2090309"/>
          <a:ext cx="6330418" cy="41235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FB74DA0-E491-4633-B734-25E4C02E0A1D}"/>
              </a:ext>
            </a:extLst>
          </p:cNvPr>
          <p:cNvSpPr txBox="1"/>
          <p:nvPr/>
        </p:nvSpPr>
        <p:spPr>
          <a:xfrm>
            <a:off x="731928" y="2090308"/>
            <a:ext cx="4616651" cy="2989023"/>
          </a:xfrm>
          <a:prstGeom prst="rect">
            <a:avLst/>
          </a:prstGeom>
          <a:noFill/>
        </p:spPr>
        <p:txBody>
          <a:bodyPr wrap="square" rtlCol="0">
            <a:spAutoFit/>
          </a:bodyPr>
          <a:lstStyle/>
          <a:p>
            <a:pPr marL="457112" indent="-457112">
              <a:buFont typeface="+mj-lt"/>
              <a:buAutoNum type="arabicPeriod"/>
            </a:pPr>
            <a:r>
              <a:rPr lang="en-US" sz="2353" dirty="0"/>
              <a:t>Policy creates a list of all policy definitions assigned that apply by scope (minus exclusions) to the resource</a:t>
            </a:r>
          </a:p>
          <a:p>
            <a:pPr marL="457112" indent="-457112">
              <a:buFont typeface="+mj-lt"/>
              <a:buAutoNum type="arabicPeriod"/>
            </a:pPr>
            <a:endParaRPr lang="en-US" sz="2353" dirty="0"/>
          </a:p>
          <a:p>
            <a:pPr marL="457112" indent="-457112">
              <a:buFont typeface="+mj-lt"/>
              <a:buAutoNum type="arabicPeriod"/>
            </a:pPr>
            <a:r>
              <a:rPr lang="en-US" sz="2353" dirty="0"/>
              <a:t>The definitions are then evaluated in the following order:</a:t>
            </a:r>
          </a:p>
        </p:txBody>
      </p:sp>
    </p:spTree>
    <p:extLst>
      <p:ext uri="{BB962C8B-B14F-4D97-AF65-F5344CB8AC3E}">
        <p14:creationId xmlns:p14="http://schemas.microsoft.com/office/powerpoint/2010/main" val="6908253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418408" y="1977160"/>
            <a:ext cx="11353102" cy="5474263"/>
          </a:xfrm>
        </p:spPr>
        <p:txBody>
          <a:bodyPr wrap="square">
            <a:noAutofit/>
          </a:bodyPr>
          <a:lstStyle/>
          <a:p>
            <a:pPr>
              <a:spcBef>
                <a:spcPts val="0"/>
              </a:spcBef>
            </a:pPr>
            <a:r>
              <a:rPr lang="en-US" sz="1200"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r>
              <a:rPr lang="en-US" sz="1200" dirty="0" err="1">
                <a:solidFill>
                  <a:schemeClr val="tx1"/>
                </a:solidFill>
                <a:latin typeface="Courier New" panose="02070309020205020404" pitchFamily="49" charset="0"/>
                <a:cs typeface="Courier New" panose="02070309020205020404" pitchFamily="49" charset="0"/>
              </a:rPr>
              <a:t>displayName</a:t>
            </a:r>
            <a:r>
              <a:rPr lang="en-US" sz="1200" dirty="0">
                <a:solidFill>
                  <a:schemeClr val="tx1"/>
                </a:solidFill>
                <a:latin typeface="Courier New" panose="02070309020205020404" pitchFamily="49" charset="0"/>
                <a:cs typeface="Courier New" panose="02070309020205020404" pitchFamily="49" charset="0"/>
              </a:rPr>
              <a:t>": "Allowed VM </a:t>
            </a:r>
            <a:r>
              <a:rPr lang="en-US" sz="1200" dirty="0" err="1">
                <a:solidFill>
                  <a:schemeClr val="tx1"/>
                </a:solidFill>
                <a:latin typeface="Courier New" panose="02070309020205020404" pitchFamily="49" charset="0"/>
                <a:cs typeface="Courier New" panose="02070309020205020404" pitchFamily="49" charset="0"/>
              </a:rPr>
              <a:t>Skus</a:t>
            </a:r>
            <a:r>
              <a:rPr lang="en-US" sz="1200" dirty="0">
                <a:solidFill>
                  <a:schemeClr val="tx1"/>
                </a:solidFill>
                <a:latin typeface="Courier New" panose="02070309020205020404" pitchFamily="49" charset="0"/>
                <a:cs typeface="Courier New" panose="02070309020205020404" pitchFamily="49" charset="0"/>
              </a:rPr>
              <a:t>",</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a:t>
            </a:r>
            <a:r>
              <a:rPr lang="en-US" sz="1200" dirty="0" err="1">
                <a:solidFill>
                  <a:schemeClr val="tx1"/>
                </a:solidFill>
                <a:latin typeface="Courier New" panose="02070309020205020404" pitchFamily="49" charset="0"/>
                <a:cs typeface="Courier New" panose="02070309020205020404" pitchFamily="49" charset="0"/>
              </a:rPr>
              <a:t>policyRule</a:t>
            </a: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r>
              <a:rPr lang="en-US" sz="1200" dirty="0" err="1">
                <a:solidFill>
                  <a:schemeClr val="tx1"/>
                </a:solidFill>
                <a:latin typeface="Courier New" panose="02070309020205020404" pitchFamily="49" charset="0"/>
                <a:cs typeface="Courier New" panose="02070309020205020404" pitchFamily="49" charset="0"/>
              </a:rPr>
              <a:t>allOf</a:t>
            </a: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equals": "</a:t>
            </a:r>
            <a:r>
              <a:rPr lang="en-US" sz="1200" dirty="0" err="1">
                <a:solidFill>
                  <a:schemeClr val="tx1"/>
                </a:solidFill>
                <a:latin typeface="Courier New" panose="02070309020205020404" pitchFamily="49" charset="0"/>
                <a:cs typeface="Courier New" panose="02070309020205020404" pitchFamily="49" charset="0"/>
              </a:rPr>
              <a:t>Microsoft.Compute</a:t>
            </a:r>
            <a:r>
              <a:rPr lang="en-US" sz="1200" dirty="0">
                <a:solidFill>
                  <a:schemeClr val="tx1"/>
                </a:solidFill>
                <a:latin typeface="Courier New" panose="02070309020205020404" pitchFamily="49" charset="0"/>
                <a:cs typeface="Courier New" panose="02070309020205020404" pitchFamily="49" charset="0"/>
              </a:rPr>
              <a:t>/</a:t>
            </a:r>
            <a:r>
              <a:rPr lang="en-US" sz="1200" dirty="0" err="1">
                <a:solidFill>
                  <a:schemeClr val="tx1"/>
                </a:solidFill>
                <a:latin typeface="Courier New" panose="02070309020205020404" pitchFamily="49" charset="0"/>
                <a:cs typeface="Courier New" panose="02070309020205020404" pitchFamily="49" charset="0"/>
              </a:rPr>
              <a:t>virtualMachines</a:t>
            </a:r>
            <a:r>
              <a:rPr lang="en-US" sz="1200" dirty="0">
                <a:solidFill>
                  <a:schemeClr val="tx1"/>
                </a:solidFill>
                <a:latin typeface="Courier New" panose="02070309020205020404" pitchFamily="49" charset="0"/>
                <a:cs typeface="Courier New" panose="02070309020205020404" pitchFamily="49" charset="0"/>
              </a:rPr>
              <a:t>“</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field":"</a:t>
            </a:r>
            <a:r>
              <a:rPr lang="en-US" sz="1200" dirty="0" err="1">
                <a:solidFill>
                  <a:schemeClr val="tx1"/>
                </a:solidFill>
                <a:latin typeface="Courier New" panose="02070309020205020404" pitchFamily="49" charset="0"/>
                <a:cs typeface="Courier New" panose="02070309020205020404" pitchFamily="49" charset="0"/>
              </a:rPr>
              <a:t>Microsoft.Compute</a:t>
            </a:r>
            <a:r>
              <a:rPr lang="en-US" sz="1200" dirty="0">
                <a:solidFill>
                  <a:schemeClr val="tx1"/>
                </a:solidFill>
                <a:latin typeface="Courier New" panose="02070309020205020404" pitchFamily="49" charset="0"/>
                <a:cs typeface="Courier New" panose="02070309020205020404" pitchFamily="49" charset="0"/>
              </a:rPr>
              <a:t>/</a:t>
            </a:r>
            <a:r>
              <a:rPr lang="en-US" sz="1200" dirty="0" err="1">
                <a:solidFill>
                  <a:schemeClr val="tx1"/>
                </a:solidFill>
                <a:latin typeface="Courier New" panose="02070309020205020404" pitchFamily="49" charset="0"/>
                <a:cs typeface="Courier New" panose="02070309020205020404" pitchFamily="49" charset="0"/>
              </a:rPr>
              <a:t>virtualMachines</a:t>
            </a:r>
            <a:r>
              <a:rPr lang="en-US" sz="1200"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  }</a:t>
            </a:r>
          </a:p>
          <a:p>
            <a:pPr>
              <a:spcBef>
                <a:spcPts val="0"/>
              </a:spcBef>
            </a:pPr>
            <a:r>
              <a:rPr lang="en-US" sz="1200"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D0417-4D44-48F9-B673-00808C6D640D}"/>
              </a:ext>
            </a:extLst>
          </p:cNvPr>
          <p:cNvSpPr>
            <a:spLocks noGrp="1"/>
          </p:cNvSpPr>
          <p:nvPr>
            <p:ph type="title"/>
          </p:nvPr>
        </p:nvSpPr>
        <p:spPr/>
        <p:txBody>
          <a:bodyPr/>
          <a:lstStyle/>
          <a:p>
            <a:r>
              <a:rPr lang="en-US" dirty="0"/>
              <a:t>Commonly Implemented Policies</a:t>
            </a:r>
          </a:p>
        </p:txBody>
      </p:sp>
      <p:sp>
        <p:nvSpPr>
          <p:cNvPr id="3" name="Content Placeholder 2">
            <a:extLst>
              <a:ext uri="{FF2B5EF4-FFF2-40B4-BE49-F238E27FC236}">
                <a16:creationId xmlns:a16="http://schemas.microsoft.com/office/drawing/2014/main" id="{857C8272-B662-48B7-8803-42488D63E139}"/>
              </a:ext>
            </a:extLst>
          </p:cNvPr>
          <p:cNvSpPr>
            <a:spLocks noGrp="1"/>
          </p:cNvSpPr>
          <p:nvPr>
            <p:ph idx="1"/>
          </p:nvPr>
        </p:nvSpPr>
        <p:spPr/>
        <p:txBody>
          <a:bodyPr/>
          <a:lstStyle/>
          <a:p>
            <a:r>
              <a:rPr lang="en-US" dirty="0"/>
              <a:t>Blob storage encryption should be enabled</a:t>
            </a:r>
          </a:p>
          <a:p>
            <a:r>
              <a:rPr lang="en-US" dirty="0"/>
              <a:t>File storage encryption should be enabled</a:t>
            </a:r>
          </a:p>
          <a:p>
            <a:r>
              <a:rPr lang="en-US" dirty="0"/>
              <a:t>SQL TDE should be enabled</a:t>
            </a:r>
          </a:p>
          <a:p>
            <a:r>
              <a:rPr lang="en-US" dirty="0"/>
              <a:t>SQL threat detection should be enabled</a:t>
            </a:r>
          </a:p>
          <a:p>
            <a:r>
              <a:rPr lang="en-US" dirty="0"/>
              <a:t>VMs should have the antimalware extension enabled</a:t>
            </a:r>
          </a:p>
          <a:p>
            <a:r>
              <a:rPr lang="en-US" dirty="0"/>
              <a:t>VMs should only use managed disks</a:t>
            </a:r>
          </a:p>
          <a:p>
            <a:r>
              <a:rPr lang="en-US" dirty="0"/>
              <a:t>Storage accounts should not be open to all public networks</a:t>
            </a:r>
          </a:p>
          <a:p>
            <a:r>
              <a:rPr lang="en-US" dirty="0"/>
              <a:t>(Express Route) Deny all public IP addresses</a:t>
            </a:r>
          </a:p>
        </p:txBody>
      </p:sp>
    </p:spTree>
    <p:extLst>
      <p:ext uri="{BB962C8B-B14F-4D97-AF65-F5344CB8AC3E}">
        <p14:creationId xmlns:p14="http://schemas.microsoft.com/office/powerpoint/2010/main" val="25877447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FEA6FC-01AF-400F-9801-FF12C5FE558E}"/>
              </a:ext>
            </a:extLst>
          </p:cNvPr>
          <p:cNvSpPr>
            <a:spLocks noGrp="1"/>
          </p:cNvSpPr>
          <p:nvPr>
            <p:ph type="title"/>
          </p:nvPr>
        </p:nvSpPr>
        <p:spPr>
          <a:prstGeom prst="rect">
            <a:avLst/>
          </a:prstGeom>
        </p:spPr>
        <p:txBody>
          <a:bodyPr wrap="square" anchor="t">
            <a:normAutofit/>
          </a:bodyPr>
          <a:lstStyle/>
          <a:p>
            <a:r>
              <a:rPr lang="en-US" dirty="0"/>
              <a:t>Logistics</a:t>
            </a:r>
          </a:p>
        </p:txBody>
      </p:sp>
      <p:sp>
        <p:nvSpPr>
          <p:cNvPr id="2" name="Text Placeholder 1">
            <a:extLst>
              <a:ext uri="{FF2B5EF4-FFF2-40B4-BE49-F238E27FC236}">
                <a16:creationId xmlns:a16="http://schemas.microsoft.com/office/drawing/2014/main" id="{3B143B7F-AE2F-42F4-B21C-1FBC38A2823F}"/>
              </a:ext>
            </a:extLst>
          </p:cNvPr>
          <p:cNvSpPr>
            <a:spLocks noGrp="1"/>
          </p:cNvSpPr>
          <p:nvPr>
            <p:ph type="body" sz="quarter" idx="11"/>
          </p:nvPr>
        </p:nvSpPr>
        <p:spPr>
          <a:xfrm>
            <a:off x="328454" y="1990211"/>
            <a:ext cx="11264832" cy="3760643"/>
          </a:xfrm>
          <a:prstGeom prst="rect">
            <a:avLst/>
          </a:prstGeom>
        </p:spPr>
        <p:txBody>
          <a:bodyPr wrap="square">
            <a:normAutofit/>
          </a:bodyPr>
          <a:lstStyle/>
          <a:p>
            <a:r>
              <a:rPr lang="en-US" sz="2800" dirty="0">
                <a:solidFill>
                  <a:schemeClr val="tx1"/>
                </a:solidFill>
              </a:rPr>
              <a:t>To emphasis concepts, you will implement solutions as teams.</a:t>
            </a:r>
          </a:p>
          <a:p>
            <a:pPr marL="280121" lvl="1" indent="-280121">
              <a:buFont typeface="Arial" panose="020B0604020202020204" pitchFamily="34" charset="0"/>
              <a:buChar char="•"/>
            </a:pPr>
            <a:endParaRPr lang="en-US" sz="1800" dirty="0"/>
          </a:p>
        </p:txBody>
      </p:sp>
    </p:spTree>
    <p:extLst>
      <p:ext uri="{BB962C8B-B14F-4D97-AF65-F5344CB8AC3E}">
        <p14:creationId xmlns:p14="http://schemas.microsoft.com/office/powerpoint/2010/main" val="127133184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D8AFF-598F-4619-8092-DCF8F9B0E674}"/>
              </a:ext>
            </a:extLst>
          </p:cNvPr>
          <p:cNvSpPr>
            <a:spLocks noGrp="1"/>
          </p:cNvSpPr>
          <p:nvPr>
            <p:ph type="title"/>
          </p:nvPr>
        </p:nvSpPr>
        <p:spPr>
          <a:xfrm>
            <a:off x="455995" y="629665"/>
            <a:ext cx="9444549" cy="1016510"/>
          </a:xfrm>
        </p:spPr>
        <p:txBody>
          <a:bodyPr vert="horz" wrap="square" lIns="91427" tIns="45713" rIns="91427" bIns="45713" rtlCol="0" anchor="t">
            <a:normAutofit/>
          </a:bodyPr>
          <a:lstStyle/>
          <a:p>
            <a:r>
              <a:rPr lang="en-US" sz="2745" dirty="0">
                <a:solidFill>
                  <a:schemeClr val="tx1"/>
                </a:solidFill>
              </a:rPr>
              <a:t>Azure Policy versus RBAC</a:t>
            </a:r>
          </a:p>
        </p:txBody>
      </p:sp>
      <p:graphicFrame>
        <p:nvGraphicFramePr>
          <p:cNvPr id="32" name="TextBox 2">
            <a:extLst>
              <a:ext uri="{FF2B5EF4-FFF2-40B4-BE49-F238E27FC236}">
                <a16:creationId xmlns:a16="http://schemas.microsoft.com/office/drawing/2014/main" id="{A39A9EFF-2886-48FD-871A-5D25B44D1E7F}"/>
              </a:ext>
            </a:extLst>
          </p:cNvPr>
          <p:cNvGraphicFramePr/>
          <p:nvPr/>
        </p:nvGraphicFramePr>
        <p:xfrm>
          <a:off x="1157760" y="2442581"/>
          <a:ext cx="9876481" cy="32812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TextBox 13">
            <a:extLst>
              <a:ext uri="{FF2B5EF4-FFF2-40B4-BE49-F238E27FC236}">
                <a16:creationId xmlns:a16="http://schemas.microsoft.com/office/drawing/2014/main" id="{5E2A3A8B-458A-444C-9E22-86D763F383C7}"/>
              </a:ext>
            </a:extLst>
          </p:cNvPr>
          <p:cNvSpPr txBox="1"/>
          <p:nvPr/>
        </p:nvSpPr>
        <p:spPr>
          <a:xfrm>
            <a:off x="559427"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Let’s review</a:t>
            </a:r>
          </a:p>
        </p:txBody>
      </p:sp>
    </p:spTree>
    <p:extLst>
      <p:ext uri="{BB962C8B-B14F-4D97-AF65-F5344CB8AC3E}">
        <p14:creationId xmlns:p14="http://schemas.microsoft.com/office/powerpoint/2010/main" val="272607683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
        <p:nvSpPr>
          <p:cNvPr id="5" name="Text Placeholder 4">
            <a:extLst>
              <a:ext uri="{FF2B5EF4-FFF2-40B4-BE49-F238E27FC236}">
                <a16:creationId xmlns:a16="http://schemas.microsoft.com/office/drawing/2014/main" id="{E73F3586-7F3E-407B-BD80-4C19B161078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8352509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337674"/>
            <a:ext cx="8511829" cy="1369565"/>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RBAC and Policy- </a:t>
            </a:r>
          </a:p>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
        <p:nvSpPr>
          <p:cNvPr id="6" name="TextBox 5">
            <a:extLst>
              <a:ext uri="{FF2B5EF4-FFF2-40B4-BE49-F238E27FC236}">
                <a16:creationId xmlns:a16="http://schemas.microsoft.com/office/drawing/2014/main" id="{E82AF2CA-3E44-4D97-8EB5-C7709F657D3D}"/>
              </a:ext>
            </a:extLst>
          </p:cNvPr>
          <p:cNvSpPr txBox="1"/>
          <p:nvPr/>
        </p:nvSpPr>
        <p:spPr>
          <a:xfrm>
            <a:off x="458000" y="2079171"/>
            <a:ext cx="7662743" cy="2677656"/>
          </a:xfrm>
          <a:prstGeom prst="rect">
            <a:avLst/>
          </a:prstGeom>
          <a:noFill/>
        </p:spPr>
        <p:txBody>
          <a:bodyPr wrap="square" rtlCol="0">
            <a:spAutoFit/>
          </a:bodyPr>
          <a:lstStyle/>
          <a:p>
            <a:pPr marL="285750" indent="-285750">
              <a:buFont typeface="Arial" panose="020B0604020202020204" pitchFamily="34" charset="0"/>
              <a:buChar char="•"/>
            </a:pPr>
            <a:r>
              <a:rPr lang="en-US" sz="2400" dirty="0"/>
              <a:t>Using Azure Policy, identify which VMs are NOT using managed disk.</a:t>
            </a:r>
          </a:p>
          <a:p>
            <a:pPr marL="285750" indent="-285750">
              <a:buFont typeface="Arial" panose="020B0604020202020204" pitchFamily="34" charset="0"/>
              <a:buChar char="•"/>
            </a:pPr>
            <a:r>
              <a:rPr lang="en-US" sz="2400" dirty="0"/>
              <a:t>Using Azure Policy, restrict resource deployment to CONUS regions</a:t>
            </a:r>
          </a:p>
          <a:p>
            <a:pPr marL="285750" indent="-285750">
              <a:buFont typeface="Arial" panose="020B0604020202020204" pitchFamily="34" charset="0"/>
              <a:buChar char="•"/>
            </a:pPr>
            <a:r>
              <a:rPr lang="en-US" sz="2400" dirty="0"/>
              <a:t>Using RBAC, assign the user “Tester” contributor access only within resource group “Testing”.  “Tester” should have NO access outside this resource group.</a:t>
            </a:r>
          </a:p>
        </p:txBody>
      </p:sp>
    </p:spTree>
    <p:extLst>
      <p:ext uri="{BB962C8B-B14F-4D97-AF65-F5344CB8AC3E}">
        <p14:creationId xmlns:p14="http://schemas.microsoft.com/office/powerpoint/2010/main" val="327807968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2141605243"/>
              </p:ext>
            </p:extLst>
          </p:nvPr>
        </p:nvGraphicFramePr>
        <p:xfrm>
          <a:off x="609600" y="598634"/>
          <a:ext cx="6400800" cy="5425148"/>
        </p:xfrm>
        <a:graphic>
          <a:graphicData uri="http://schemas.openxmlformats.org/drawingml/2006/table">
            <a:tbl>
              <a:tblPr firstRow="1" bandRow="1">
                <a:tableStyleId>{21E4AEA4-8DFA-4A89-87EB-49C32662AFE0}</a:tableStyleId>
              </a:tblPr>
              <a:tblGrid>
                <a:gridCol w="4430486">
                  <a:extLst>
                    <a:ext uri="{9D8B030D-6E8A-4147-A177-3AD203B41FA5}">
                      <a16:colId xmlns:a16="http://schemas.microsoft.com/office/drawing/2014/main" val="4018181522"/>
                    </a:ext>
                  </a:extLst>
                </a:gridCol>
                <a:gridCol w="1970314">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strike="sngStrike" dirty="0"/>
                        <a:t>Logistics</a:t>
                      </a:r>
                    </a:p>
                  </a:txBody>
                  <a:tcPr marL="91898" marR="91898" marT="45949" marB="45949"/>
                </a:tc>
                <a:tc>
                  <a:txBody>
                    <a:bodyPr/>
                    <a:lstStyle/>
                    <a:p>
                      <a:r>
                        <a:rPr lang="en-US" sz="2000" strike="sngStrike"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strike="sngStrike" dirty="0"/>
                        <a:t>Overview</a:t>
                      </a:r>
                    </a:p>
                  </a:txBody>
                  <a:tcPr marL="91898" marR="91898" marT="45949" marB="45949"/>
                </a:tc>
                <a:tc>
                  <a:txBody>
                    <a:bodyPr/>
                    <a:lstStyle/>
                    <a:p>
                      <a:r>
                        <a:rPr lang="en-US" sz="2000" strike="sngStrike" dirty="0"/>
                        <a:t>9:45am</a:t>
                      </a:r>
                    </a:p>
                  </a:txBody>
                  <a:tcPr marL="91898" marR="91898" marT="45949" marB="45949"/>
                </a:tc>
                <a:extLst>
                  <a:ext uri="{0D108BD9-81ED-4DB2-BD59-A6C34878D82A}">
                    <a16:rowId xmlns:a16="http://schemas.microsoft.com/office/drawing/2014/main" val="1615664802"/>
                  </a:ext>
                </a:extLst>
              </a:tr>
              <a:tr h="664772">
                <a:tc>
                  <a:txBody>
                    <a:bodyPr/>
                    <a:lstStyle/>
                    <a:p>
                      <a:r>
                        <a:rPr lang="en-US" sz="2000" strike="sngStrike" dirty="0"/>
                        <a:t>Enrollment Setup, Management Groups</a:t>
                      </a:r>
                    </a:p>
                  </a:txBody>
                  <a:tcPr marL="91898" marR="91898" marT="45949" marB="45949"/>
                </a:tc>
                <a:tc>
                  <a:txBody>
                    <a:bodyPr/>
                    <a:lstStyle/>
                    <a:p>
                      <a:r>
                        <a:rPr lang="en-US" sz="2000" strike="sngStrike" dirty="0"/>
                        <a:t>10:00 – 10: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strike="sngStrike" dirty="0"/>
                        <a:t>Challenge </a:t>
                      </a:r>
                    </a:p>
                  </a:txBody>
                  <a:tcPr marL="91898" marR="91898" marT="45949" marB="45949"/>
                </a:tc>
                <a:tc>
                  <a:txBody>
                    <a:bodyPr/>
                    <a:lstStyle/>
                    <a:p>
                      <a:r>
                        <a:rPr lang="en-US" sz="2000" strike="sngStrike" dirty="0"/>
                        <a:t>10:30 – 11:00am</a:t>
                      </a:r>
                    </a:p>
                  </a:txBody>
                  <a:tcPr marL="91898" marR="91898" marT="45949" marB="45949"/>
                </a:tc>
                <a:extLst>
                  <a:ext uri="{0D108BD9-81ED-4DB2-BD59-A6C34878D82A}">
                    <a16:rowId xmlns:a16="http://schemas.microsoft.com/office/drawing/2014/main" val="2312324020"/>
                  </a:ext>
                </a:extLst>
              </a:tr>
              <a:tr h="394552">
                <a:tc>
                  <a:txBody>
                    <a:bodyPr/>
                    <a:lstStyle/>
                    <a:p>
                      <a:r>
                        <a:rPr lang="en-US" sz="2000" strike="sngStrike" dirty="0"/>
                        <a:t>Azure Policy and RBAC</a:t>
                      </a:r>
                    </a:p>
                  </a:txBody>
                  <a:tcPr marL="91898" marR="91898" marT="45949" marB="45949"/>
                </a:tc>
                <a:tc>
                  <a:txBody>
                    <a:bodyPr/>
                    <a:lstStyle/>
                    <a:p>
                      <a:r>
                        <a:rPr lang="en-US" sz="2000" strike="sngStrike" dirty="0"/>
                        <a:t>11:00 – 11:3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strike="sngStrike" dirty="0"/>
                        <a:t>Challenge</a:t>
                      </a:r>
                    </a:p>
                  </a:txBody>
                  <a:tcPr marL="91898" marR="91898" marT="45949" marB="45949"/>
                </a:tc>
                <a:tc>
                  <a:txBody>
                    <a:bodyPr/>
                    <a:lstStyle/>
                    <a:p>
                      <a:r>
                        <a:rPr lang="en-US" sz="2000" strike="sngStrike" dirty="0"/>
                        <a:t>11:3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dirty="0"/>
                        <a:t>Lunch</a:t>
                      </a:r>
                    </a:p>
                  </a:txBody>
                  <a:tcPr marL="91898" marR="91898" marT="45949" marB="45949"/>
                </a:tc>
                <a:tc>
                  <a:txBody>
                    <a:bodyPr/>
                    <a:lstStyle/>
                    <a:p>
                      <a:r>
                        <a:rPr lang="en-US" sz="2000"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dirty="0"/>
                        <a:t>Blueprints</a:t>
                      </a:r>
                    </a:p>
                  </a:txBody>
                  <a:tcPr marL="91898" marR="91898" marT="45949" marB="45949"/>
                </a:tc>
                <a:tc>
                  <a:txBody>
                    <a:bodyPr/>
                    <a:lstStyle/>
                    <a:p>
                      <a:r>
                        <a:rPr lang="en-US" sz="2000"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dirty="0"/>
                        <a:t>Challenge</a:t>
                      </a:r>
                    </a:p>
                  </a:txBody>
                  <a:tcPr marL="91898" marR="91898" marT="45949" marB="45949"/>
                </a:tc>
                <a:tc>
                  <a:txBody>
                    <a:bodyPr/>
                    <a:lstStyle/>
                    <a:p>
                      <a:r>
                        <a:rPr lang="en-US" sz="2000"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308276677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533398"/>
            <a:ext cx="8738753" cy="1320800"/>
          </a:xfrm>
        </p:spPr>
        <p:txBody>
          <a:bodyPr/>
          <a:lstStyle/>
          <a:p>
            <a:r>
              <a:rPr lang="en-US" dirty="0"/>
              <a:t>Governance Tools for the cloud	,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dirty="0">
                  <a:solidFill>
                    <a:schemeClr val="accent4"/>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solidFill>
                    <a:schemeClr val="accent4"/>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9" y="3300998"/>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1239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dirty="0">
                <a:solidFill>
                  <a:schemeClr val="accent4"/>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2478391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tx1"/>
                </a:solidFill>
              </a:rPr>
              <a:t>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chemeClr val="tx2"/>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chemeClr val="tx2"/>
              </a:solidFill>
              <a:effectLst/>
              <a:uLnTx/>
              <a:uFillTx/>
              <a:latin typeface="Segoe UI"/>
              <a:ea typeface="+mn-ea"/>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chemeClr val="tx2"/>
              </a:solidFill>
              <a:effectLst/>
              <a:uLnTx/>
              <a:uFillTx/>
              <a:latin typeface="Segoe UI"/>
              <a:ea typeface="+mn-ea"/>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light"/>
                <a:ea typeface="+mn-ea"/>
                <a:cs typeface="Segoe UI Light"/>
              </a:rPr>
              <a:t>Let app teams use Azure in a </a:t>
            </a:r>
            <a:r>
              <a:rPr kumimoji="0" lang="en-US" sz="1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dirty="0">
                <a:ln>
                  <a:noFill/>
                </a:ln>
                <a:solidFill>
                  <a:schemeClr val="tx2"/>
                </a:solidFill>
                <a:effectLst/>
                <a:uLnTx/>
                <a:uFillTx/>
                <a:latin typeface="Segoe UI Semilight"/>
                <a:ea typeface="+mn-ea"/>
                <a:cs typeface="Segoe UI Light"/>
              </a:rPr>
              <a:t> manner while ensuring </a:t>
            </a:r>
            <a:r>
              <a:rPr kumimoji="0" lang="en-US" sz="1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chemeClr val="tx2"/>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chemeClr val="tx2"/>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chemeClr val="tx2"/>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chemeClr val="tx2"/>
              </a:solidFill>
              <a:effectLst/>
              <a:uLnTx/>
              <a:uFillTx/>
              <a:latin typeface="Segoe UI"/>
              <a:ea typeface="+mn-ea"/>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tx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383455" y="443046"/>
            <a:ext cx="11425090" cy="553982"/>
          </a:xfrm>
        </p:spPr>
        <p:txBody>
          <a:bodyPr>
            <a:normAutofit fontScale="90000"/>
          </a:bodyPr>
          <a:lstStyle/>
          <a:p>
            <a:r>
              <a:rPr lang="en-US" dirty="0"/>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64662" y="898580"/>
            <a:ext cx="10738827" cy="343443"/>
          </a:xfrm>
          <a:prstGeom prst="rect">
            <a:avLst/>
          </a:prstGeom>
        </p:spPr>
        <p:txBody>
          <a:bodyPr wrap="square">
            <a:spAutoFit/>
          </a:bodyPr>
          <a:lstStyle/>
          <a:p>
            <a:pPr defTabSz="914225">
              <a:defRPr/>
            </a:pPr>
            <a:r>
              <a:rPr lang="en-US" sz="1600">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67">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715872" y="2668614"/>
            <a:ext cx="2399378" cy="1293606"/>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382273" y="2177731"/>
            <a:ext cx="4365384" cy="2223036"/>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solidFill>
                        <a:schemeClr val="tx2"/>
                      </a:soli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solidFill>
                        <a:schemeClr val="tx2"/>
                      </a:soli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solidFill>
                        <a:schemeClr val="tx2"/>
                      </a:soli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a:solidFill>
                        <a:schemeClr val="tx2"/>
                      </a:soli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40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dirty="0">
                <a:solidFill>
                  <a:schemeClr val="tx2"/>
                </a:soli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149581" y="5003100"/>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dirty="0">
                <a:solidFill>
                  <a:schemeClr val="tx2"/>
                </a:soli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7924540" y="4930603"/>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79" y="5075597"/>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dirty="0">
                <a:solidFill>
                  <a:schemeClr val="tx2"/>
                </a:soli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0706" y="2148043"/>
            <a:ext cx="3637584" cy="2294421"/>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76946" y="2251144"/>
            <a:ext cx="2789005" cy="2116327"/>
            <a:chOff x="1076233" y="2250976"/>
            <a:chExt cx="2789400"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chemeClr val="tx2"/>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3" y="2997682"/>
              <a:ext cx="2789400" cy="643857"/>
              <a:chOff x="1926274" y="1402697"/>
              <a:chExt cx="2789400" cy="643857"/>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Policy Definitions</a:t>
                </a:r>
              </a:p>
            </p:txBody>
          </p:sp>
          <p:sp>
            <p:nvSpPr>
              <p:cNvPr id="42" name="Rectangle 41">
                <a:extLst>
                  <a:ext uri="{FF2B5EF4-FFF2-40B4-BE49-F238E27FC236}">
                    <a16:creationId xmlns:a16="http://schemas.microsoft.com/office/drawing/2014/main" id="{857DD6B5-EA1D-48F3-8D3B-9F49AA0B2033}"/>
                  </a:ext>
                </a:extLst>
              </p:cNvPr>
              <p:cNvSpPr/>
              <p:nvPr/>
            </p:nvSpPr>
            <p:spPr bwMode="auto">
              <a:xfrm rot="5400000">
                <a:off x="3008447" y="320524"/>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chemeClr val="tx2"/>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3" y="3723746"/>
              <a:ext cx="2789400" cy="643857"/>
              <a:chOff x="1926274" y="1402697"/>
              <a:chExt cx="2789400" cy="643857"/>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ARM Templates</a:t>
                </a:r>
              </a:p>
            </p:txBody>
          </p:sp>
          <p:sp>
            <p:nvSpPr>
              <p:cNvPr id="44" name="Rectangle 43">
                <a:extLst>
                  <a:ext uri="{FF2B5EF4-FFF2-40B4-BE49-F238E27FC236}">
                    <a16:creationId xmlns:a16="http://schemas.microsoft.com/office/drawing/2014/main" id="{323DAA5F-8FD4-49A3-8DAD-C1CBC3E3F389}"/>
                  </a:ext>
                </a:extLst>
              </p:cNvPr>
              <p:cNvSpPr/>
              <p:nvPr/>
            </p:nvSpPr>
            <p:spPr bwMode="auto">
              <a:xfrm rot="5400000">
                <a:off x="3008447" y="320524"/>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chemeClr val="tx2"/>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11507674" y="388440"/>
            <a:ext cx="445466" cy="450114"/>
          </a:xfrm>
          <a:prstGeom prst="rect">
            <a:avLst/>
          </a:prstGeom>
        </p:spPr>
      </p:pic>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a:xfrm>
            <a:off x="440041" y="641158"/>
            <a:ext cx="11655840" cy="899665"/>
          </a:xfrm>
        </p:spPr>
        <p:txBody>
          <a:bodyPr/>
          <a:lstStyle/>
          <a:p>
            <a:r>
              <a:rPr lang="en-US" sz="4400" dirty="0"/>
              <a:t>How it works</a:t>
            </a:r>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2619278"/>
            <a:ext cx="1622239" cy="1085601"/>
            <a:chOff x="130114" y="1066801"/>
            <a:chExt cx="1622239" cy="1085601"/>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2673806"/>
            <a:ext cx="2820220" cy="378674"/>
            <a:chOff x="1267485" y="1069571"/>
            <a:chExt cx="2820220" cy="378674"/>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977842"/>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4240" y="171570"/>
              <a:ext cx="1061966" cy="548112"/>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2597163"/>
            <a:ext cx="245633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3405021"/>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4352189"/>
            <a:ext cx="2630942" cy="430887"/>
            <a:chOff x="1219200" y="1019893"/>
            <a:chExt cx="2630942" cy="430887"/>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3320359"/>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3365310"/>
            <a:ext cx="1785360" cy="2231922"/>
            <a:chOff x="5241517" y="4257938"/>
            <a:chExt cx="1785360" cy="2231922"/>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31922"/>
              <a:chOff x="5241517" y="4257938"/>
              <a:chExt cx="1785360" cy="2231922"/>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31922"/>
                <a:chOff x="5142661" y="4257938"/>
                <a:chExt cx="1785360" cy="2231922"/>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61610"/>
                  <a:chOff x="7957751" y="5446562"/>
                  <a:chExt cx="1745374" cy="261610"/>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947064" cy="261610"/>
                  <a:chOff x="7957751" y="3073475"/>
                  <a:chExt cx="947064" cy="261610"/>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753356"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61610"/>
                  <a:chOff x="7957751" y="3073475"/>
                  <a:chExt cx="1389942" cy="261610"/>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61610"/>
                  <a:chOff x="7957751" y="3073475"/>
                  <a:chExt cx="1612364" cy="261610"/>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61610"/>
                  <a:chOff x="7957751" y="3073475"/>
                  <a:chExt cx="1785360" cy="261610"/>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chemeClr val="tx2"/>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551666"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4129119"/>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2624054"/>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Apply Blueprint to Sco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900935"/>
              <a:chOff x="331694" y="1066801"/>
              <a:chExt cx="1165412" cy="900935"/>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732614"/>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9986296" y="6433069"/>
            <a:ext cx="2612830" cy="246221"/>
            <a:chOff x="8847650" y="6237584"/>
            <a:chExt cx="2612830" cy="246221"/>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32683306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337674"/>
            <a:ext cx="8511829" cy="1369565"/>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a:gradFill>
                  <a:gsLst>
                    <a:gs pos="2917">
                      <a:srgbClr val="505050"/>
                    </a:gs>
                    <a:gs pos="30000">
                      <a:srgbClr val="505050"/>
                    </a:gs>
                  </a:gsLst>
                  <a:lin ang="5400000" scaled="0"/>
                </a:gradFill>
                <a:latin typeface="Segoe UI Light"/>
              </a:rPr>
              <a:t>Blueprints</a:t>
            </a:r>
            <a:endParaRPr lang="en-US" sz="3600" b="1" dirty="0">
              <a:gradFill>
                <a:gsLst>
                  <a:gs pos="2917">
                    <a:srgbClr val="505050"/>
                  </a:gs>
                  <a:gs pos="30000">
                    <a:srgbClr val="505050"/>
                  </a:gs>
                </a:gsLst>
                <a:lin ang="5400000" scaled="0"/>
              </a:gradFill>
              <a:latin typeface="Segoe UI Light"/>
            </a:endParaRPr>
          </a:p>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
        <p:nvSpPr>
          <p:cNvPr id="6" name="TextBox 5">
            <a:extLst>
              <a:ext uri="{FF2B5EF4-FFF2-40B4-BE49-F238E27FC236}">
                <a16:creationId xmlns:a16="http://schemas.microsoft.com/office/drawing/2014/main" id="{E82AF2CA-3E44-4D97-8EB5-C7709F657D3D}"/>
              </a:ext>
            </a:extLst>
          </p:cNvPr>
          <p:cNvSpPr txBox="1"/>
          <p:nvPr/>
        </p:nvSpPr>
        <p:spPr>
          <a:xfrm>
            <a:off x="458000" y="2079171"/>
            <a:ext cx="7662743" cy="461665"/>
          </a:xfrm>
          <a:prstGeom prst="rect">
            <a:avLst/>
          </a:prstGeom>
          <a:noFill/>
        </p:spPr>
        <p:txBody>
          <a:bodyPr wrap="square" rtlCol="0">
            <a:spAutoFit/>
          </a:bodyPr>
          <a:lstStyle/>
          <a:p>
            <a:pPr marL="285750" indent="-285750">
              <a:buFont typeface="Arial" panose="020B0604020202020204" pitchFamily="34" charset="0"/>
              <a:buChar char="•"/>
            </a:pPr>
            <a:r>
              <a:rPr lang="en-US" sz="2400" dirty="0"/>
              <a:t>Apply the NIST blueprint to your subscription</a:t>
            </a:r>
          </a:p>
        </p:txBody>
      </p:sp>
    </p:spTree>
    <p:extLst>
      <p:ext uri="{BB962C8B-B14F-4D97-AF65-F5344CB8AC3E}">
        <p14:creationId xmlns:p14="http://schemas.microsoft.com/office/powerpoint/2010/main" val="7114771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C76769-80FA-4826-BAD2-3CA242AD713F}"/>
              </a:ext>
            </a:extLst>
          </p:cNvPr>
          <p:cNvSpPr>
            <a:spLocks noGrp="1"/>
          </p:cNvSpPr>
          <p:nvPr>
            <p:ph type="title"/>
          </p:nvPr>
        </p:nvSpPr>
        <p:spPr/>
        <p:txBody>
          <a:bodyPr/>
          <a:lstStyle/>
          <a:p>
            <a:r>
              <a:rPr lang="en-US" dirty="0"/>
              <a:t>Subscription </a:t>
            </a:r>
            <a:r>
              <a:rPr lang="en-US" dirty="0" err="1"/>
              <a:t>sETUP</a:t>
            </a:r>
            <a:endParaRPr lang="en-US" dirty="0"/>
          </a:p>
        </p:txBody>
      </p:sp>
      <p:sp>
        <p:nvSpPr>
          <p:cNvPr id="6" name="Content Placeholder 5">
            <a:extLst>
              <a:ext uri="{FF2B5EF4-FFF2-40B4-BE49-F238E27FC236}">
                <a16:creationId xmlns:a16="http://schemas.microsoft.com/office/drawing/2014/main" id="{936E1D1A-D931-465C-B996-50031AA302DA}"/>
              </a:ext>
            </a:extLst>
          </p:cNvPr>
          <p:cNvSpPr>
            <a:spLocks noGrp="1"/>
          </p:cNvSpPr>
          <p:nvPr>
            <p:ph idx="1"/>
          </p:nvPr>
        </p:nvSpPr>
        <p:spPr/>
        <p:txBody>
          <a:bodyPr/>
          <a:lstStyle/>
          <a:p>
            <a:r>
              <a:rPr lang="en-US" dirty="0"/>
              <a:t>Subscription details will be physically handed out to each team</a:t>
            </a:r>
          </a:p>
          <a:p>
            <a:r>
              <a:rPr lang="en-US" dirty="0"/>
              <a:t>Follow instructions at </a:t>
            </a:r>
            <a:r>
              <a:rPr lang="en-US" dirty="0">
                <a:hlinkClick r:id="rId2"/>
              </a:rPr>
              <a:t>https://github.com/nluedeman/GovernanceHackathon</a:t>
            </a:r>
            <a:r>
              <a:rPr lang="en-US" dirty="0"/>
              <a:t> </a:t>
            </a:r>
          </a:p>
        </p:txBody>
      </p:sp>
    </p:spTree>
    <p:extLst>
      <p:ext uri="{BB962C8B-B14F-4D97-AF65-F5344CB8AC3E}">
        <p14:creationId xmlns:p14="http://schemas.microsoft.com/office/powerpoint/2010/main" val="209221543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2872344579"/>
              </p:ext>
            </p:extLst>
          </p:nvPr>
        </p:nvGraphicFramePr>
        <p:xfrm>
          <a:off x="899376" y="1084886"/>
          <a:ext cx="7214315" cy="5206587"/>
        </p:xfrm>
        <a:graphic>
          <a:graphicData uri="http://schemas.openxmlformats.org/drawingml/2006/table">
            <a:tbl>
              <a:tblPr firstRow="1" bandRow="1">
                <a:tableStyleId>{00A15C55-8517-42AA-B614-E9B94910E393}</a:tableStyleId>
              </a:tblPr>
              <a:tblGrid>
                <a:gridCol w="5336947">
                  <a:extLst>
                    <a:ext uri="{9D8B030D-6E8A-4147-A177-3AD203B41FA5}">
                      <a16:colId xmlns:a16="http://schemas.microsoft.com/office/drawing/2014/main" val="4018181522"/>
                    </a:ext>
                  </a:extLst>
                </a:gridCol>
                <a:gridCol w="1877368">
                  <a:extLst>
                    <a:ext uri="{9D8B030D-6E8A-4147-A177-3AD203B41FA5}">
                      <a16:colId xmlns:a16="http://schemas.microsoft.com/office/drawing/2014/main" val="2938112262"/>
                    </a:ext>
                  </a:extLst>
                </a:gridCol>
              </a:tblGrid>
              <a:tr h="376816">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76816">
                <a:tc>
                  <a:txBody>
                    <a:bodyPr/>
                    <a:lstStyle/>
                    <a:p>
                      <a:r>
                        <a:rPr lang="en-US" sz="2000" strike="sngStrike" dirty="0"/>
                        <a:t>Logistics</a:t>
                      </a:r>
                    </a:p>
                  </a:txBody>
                  <a:tcPr marL="91898" marR="91898" marT="45949" marB="45949"/>
                </a:tc>
                <a:tc>
                  <a:txBody>
                    <a:bodyPr/>
                    <a:lstStyle/>
                    <a:p>
                      <a:r>
                        <a:rPr lang="en-US" sz="2000" strike="sngStrike" dirty="0"/>
                        <a:t>9:30am</a:t>
                      </a:r>
                    </a:p>
                  </a:txBody>
                  <a:tcPr marL="91898" marR="91898" marT="45949" marB="45949"/>
                </a:tc>
                <a:extLst>
                  <a:ext uri="{0D108BD9-81ED-4DB2-BD59-A6C34878D82A}">
                    <a16:rowId xmlns:a16="http://schemas.microsoft.com/office/drawing/2014/main" val="2181113356"/>
                  </a:ext>
                </a:extLst>
              </a:tr>
              <a:tr h="376816">
                <a:tc>
                  <a:txBody>
                    <a:bodyPr/>
                    <a:lstStyle/>
                    <a:p>
                      <a:r>
                        <a:rPr lang="en-US" sz="2000" strike="sngStrike" dirty="0"/>
                        <a:t>Overview</a:t>
                      </a:r>
                    </a:p>
                  </a:txBody>
                  <a:tcPr marL="91898" marR="91898" marT="45949" marB="45949"/>
                </a:tc>
                <a:tc>
                  <a:txBody>
                    <a:bodyPr/>
                    <a:lstStyle/>
                    <a:p>
                      <a:r>
                        <a:rPr lang="en-US" sz="2000" strike="sngStrike" dirty="0"/>
                        <a:t>9:45am</a:t>
                      </a:r>
                    </a:p>
                  </a:txBody>
                  <a:tcPr marL="91898" marR="91898" marT="45949" marB="45949"/>
                </a:tc>
                <a:extLst>
                  <a:ext uri="{0D108BD9-81ED-4DB2-BD59-A6C34878D82A}">
                    <a16:rowId xmlns:a16="http://schemas.microsoft.com/office/drawing/2014/main" val="1615664802"/>
                  </a:ext>
                </a:extLst>
              </a:tr>
              <a:tr h="410265">
                <a:tc>
                  <a:txBody>
                    <a:bodyPr/>
                    <a:lstStyle/>
                    <a:p>
                      <a:r>
                        <a:rPr lang="en-US" sz="2000" strike="sngStrike" dirty="0"/>
                        <a:t>Enrollment Setup, Management Groups</a:t>
                      </a:r>
                    </a:p>
                  </a:txBody>
                  <a:tcPr marL="91898" marR="91898" marT="45949" marB="45949"/>
                </a:tc>
                <a:tc>
                  <a:txBody>
                    <a:bodyPr/>
                    <a:lstStyle/>
                    <a:p>
                      <a:r>
                        <a:rPr lang="en-US" sz="2000" strike="sngStrike" dirty="0"/>
                        <a:t>10:00 – 10:30am</a:t>
                      </a:r>
                    </a:p>
                  </a:txBody>
                  <a:tcPr marL="91898" marR="91898" marT="45949" marB="45949"/>
                </a:tc>
                <a:extLst>
                  <a:ext uri="{0D108BD9-81ED-4DB2-BD59-A6C34878D82A}">
                    <a16:rowId xmlns:a16="http://schemas.microsoft.com/office/drawing/2014/main" val="3713498784"/>
                  </a:ext>
                </a:extLst>
              </a:tr>
              <a:tr h="367047">
                <a:tc>
                  <a:txBody>
                    <a:bodyPr/>
                    <a:lstStyle/>
                    <a:p>
                      <a:r>
                        <a:rPr lang="en-US" sz="2000" strike="sngStrike" dirty="0"/>
                        <a:t>Challenge </a:t>
                      </a:r>
                    </a:p>
                  </a:txBody>
                  <a:tcPr marL="91898" marR="91898" marT="45949" marB="45949"/>
                </a:tc>
                <a:tc>
                  <a:txBody>
                    <a:bodyPr/>
                    <a:lstStyle/>
                    <a:p>
                      <a:r>
                        <a:rPr lang="en-US" sz="2000" strike="sngStrike" dirty="0"/>
                        <a:t>10:30 – 11:00am</a:t>
                      </a:r>
                    </a:p>
                  </a:txBody>
                  <a:tcPr marL="91898" marR="91898" marT="45949" marB="45949"/>
                </a:tc>
                <a:extLst>
                  <a:ext uri="{0D108BD9-81ED-4DB2-BD59-A6C34878D82A}">
                    <a16:rowId xmlns:a16="http://schemas.microsoft.com/office/drawing/2014/main" val="2312324020"/>
                  </a:ext>
                </a:extLst>
              </a:tr>
              <a:tr h="408231">
                <a:tc>
                  <a:txBody>
                    <a:bodyPr/>
                    <a:lstStyle/>
                    <a:p>
                      <a:r>
                        <a:rPr lang="en-US" sz="2000" strike="sngStrike" dirty="0"/>
                        <a:t>Azure Policy and RBAC</a:t>
                      </a:r>
                    </a:p>
                  </a:txBody>
                  <a:tcPr marL="91898" marR="91898" marT="45949" marB="45949"/>
                </a:tc>
                <a:tc>
                  <a:txBody>
                    <a:bodyPr/>
                    <a:lstStyle/>
                    <a:p>
                      <a:r>
                        <a:rPr lang="en-US" sz="2000" strike="sngStrike" dirty="0"/>
                        <a:t>11:00 – 11:30pm</a:t>
                      </a:r>
                    </a:p>
                  </a:txBody>
                  <a:tcPr marL="91898" marR="91898" marT="45949" marB="45949"/>
                </a:tc>
                <a:extLst>
                  <a:ext uri="{0D108BD9-81ED-4DB2-BD59-A6C34878D82A}">
                    <a16:rowId xmlns:a16="http://schemas.microsoft.com/office/drawing/2014/main" val="4293611818"/>
                  </a:ext>
                </a:extLst>
              </a:tr>
              <a:tr h="399245">
                <a:tc>
                  <a:txBody>
                    <a:bodyPr/>
                    <a:lstStyle/>
                    <a:p>
                      <a:r>
                        <a:rPr lang="en-US" sz="2000" strike="sngStrike" dirty="0"/>
                        <a:t>Challenge</a:t>
                      </a:r>
                    </a:p>
                  </a:txBody>
                  <a:tcPr marL="91898" marR="91898" marT="45949" marB="45949"/>
                </a:tc>
                <a:tc>
                  <a:txBody>
                    <a:bodyPr/>
                    <a:lstStyle/>
                    <a:p>
                      <a:r>
                        <a:rPr lang="en-US" sz="2000" strike="sngStrike" dirty="0"/>
                        <a:t>11:30 – 12:30pm</a:t>
                      </a:r>
                    </a:p>
                  </a:txBody>
                  <a:tcPr marL="91898" marR="91898" marT="45949" marB="45949"/>
                </a:tc>
                <a:extLst>
                  <a:ext uri="{0D108BD9-81ED-4DB2-BD59-A6C34878D82A}">
                    <a16:rowId xmlns:a16="http://schemas.microsoft.com/office/drawing/2014/main" val="1423014605"/>
                  </a:ext>
                </a:extLst>
              </a:tr>
              <a:tr h="418564">
                <a:tc>
                  <a:txBody>
                    <a:bodyPr/>
                    <a:lstStyle/>
                    <a:p>
                      <a:r>
                        <a:rPr lang="en-US" sz="2000" strike="sngStrike" dirty="0"/>
                        <a:t>Lunch</a:t>
                      </a:r>
                    </a:p>
                  </a:txBody>
                  <a:tcPr marL="91898" marR="91898" marT="45949" marB="45949"/>
                </a:tc>
                <a:tc>
                  <a:txBody>
                    <a:bodyPr/>
                    <a:lstStyle/>
                    <a:p>
                      <a:r>
                        <a:rPr lang="en-US" sz="2000" strike="sngStrike" dirty="0"/>
                        <a:t>12:30 – 1:30pm</a:t>
                      </a:r>
                    </a:p>
                  </a:txBody>
                  <a:tcPr marL="91898" marR="91898" marT="45949" marB="45949"/>
                </a:tc>
                <a:extLst>
                  <a:ext uri="{0D108BD9-81ED-4DB2-BD59-A6C34878D82A}">
                    <a16:rowId xmlns:a16="http://schemas.microsoft.com/office/drawing/2014/main" val="1909115079"/>
                  </a:ext>
                </a:extLst>
              </a:tr>
              <a:tr h="376816">
                <a:tc>
                  <a:txBody>
                    <a:bodyPr/>
                    <a:lstStyle/>
                    <a:p>
                      <a:r>
                        <a:rPr lang="en-US" sz="2000" strike="sngStrike" dirty="0"/>
                        <a:t>Blueprints</a:t>
                      </a:r>
                    </a:p>
                  </a:txBody>
                  <a:tcPr marL="91898" marR="91898" marT="45949" marB="45949"/>
                </a:tc>
                <a:tc>
                  <a:txBody>
                    <a:bodyPr/>
                    <a:lstStyle/>
                    <a:p>
                      <a:r>
                        <a:rPr lang="en-US" sz="2000" strike="sngStrike" dirty="0"/>
                        <a:t>1:30 – 2:00pm</a:t>
                      </a:r>
                    </a:p>
                  </a:txBody>
                  <a:tcPr marL="91898" marR="91898" marT="45949" marB="45949"/>
                </a:tc>
                <a:extLst>
                  <a:ext uri="{0D108BD9-81ED-4DB2-BD59-A6C34878D82A}">
                    <a16:rowId xmlns:a16="http://schemas.microsoft.com/office/drawing/2014/main" val="1780686894"/>
                  </a:ext>
                </a:extLst>
              </a:tr>
              <a:tr h="376816">
                <a:tc>
                  <a:txBody>
                    <a:bodyPr/>
                    <a:lstStyle/>
                    <a:p>
                      <a:r>
                        <a:rPr lang="en-US" sz="2000" strike="sngStrike" dirty="0"/>
                        <a:t>Challenge</a:t>
                      </a:r>
                    </a:p>
                  </a:txBody>
                  <a:tcPr marL="91898" marR="91898" marT="45949" marB="45949"/>
                </a:tc>
                <a:tc>
                  <a:txBody>
                    <a:bodyPr/>
                    <a:lstStyle/>
                    <a:p>
                      <a:r>
                        <a:rPr lang="en-US" sz="2000" strike="sngStrike" dirty="0"/>
                        <a:t>2:00 – 2:30pm</a:t>
                      </a:r>
                    </a:p>
                  </a:txBody>
                  <a:tcPr marL="91898" marR="91898" marT="45949" marB="45949"/>
                </a:tc>
                <a:extLst>
                  <a:ext uri="{0D108BD9-81ED-4DB2-BD59-A6C34878D82A}">
                    <a16:rowId xmlns:a16="http://schemas.microsoft.com/office/drawing/2014/main" val="765978375"/>
                  </a:ext>
                </a:extLst>
              </a:tr>
              <a:tr h="376816">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76816">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76816">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397892243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445316"/>
            <a:ext cx="8799471" cy="928289"/>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Enrollment</a:t>
              </a:r>
            </a:p>
            <a:p>
              <a:pPr algn="l" defTabSz="914192">
                <a:defRPr/>
              </a:pPr>
              <a:r>
                <a:rPr lang="en-US" b="0" dirty="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a:cxnSpLocks/>
            </p:cNvCxnSpPr>
            <p:nvPr/>
          </p:nvCxnSpPr>
          <p:spPr>
            <a:xfrm>
              <a:off x="9302765" y="4059258"/>
              <a:ext cx="2086215" cy="22517"/>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46079" y="2400257"/>
            <a:ext cx="2258209" cy="2606254"/>
            <a:chOff x="9413988" y="2421886"/>
            <a:chExt cx="2258530"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13988" y="2421886"/>
              <a:ext cx="2110146" cy="1510792"/>
              <a:chOff x="9075272" y="1650386"/>
              <a:chExt cx="211014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075272" y="2567058"/>
                <a:ext cx="2110146" cy="594120"/>
                <a:chOff x="9215661"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215661"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accent4"/>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accent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solidFill>
                    <a:schemeClr val="accent4"/>
                  </a:soli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solidFill>
                    <a:schemeClr val="accent4"/>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chemeClr val="accent4"/>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2710250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80844"/>
            <a:chOff x="573285" y="2610325"/>
            <a:chExt cx="3635313" cy="3380844"/>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76999"/>
            </a:xfrm>
            <a:prstGeom prst="rect">
              <a:avLst/>
            </a:prstGeom>
          </p:spPr>
          <p:txBody>
            <a:bodyPr wrap="square" lIns="0" tIns="0" rIns="0" bIns="0" anchor="t" anchorCtr="0">
              <a:spAutoFit/>
            </a:bodyPr>
            <a:lstStyle/>
            <a:p>
              <a:pPr marL="285750" marR="0" lvl="0" indent="-285750" defTabSz="913576" eaLnBrk="1" fontAlgn="base" latinLnBrk="0" hangingPunct="1">
                <a:lnSpc>
                  <a:spcPct val="100000"/>
                </a:lnSpc>
                <a:spcBef>
                  <a:spcPct val="0"/>
                </a:spcBef>
                <a:spcAft>
                  <a:spcPts val="2353"/>
                </a:spcAft>
                <a:buClrTx/>
                <a:buSzTx/>
                <a:buFont typeface="Arial" panose="020B0604020202020204" pitchFamily="34" charset="0"/>
                <a:buChar char="•"/>
                <a:tabLst/>
                <a:defRPr/>
              </a:pPr>
              <a:r>
                <a:rPr kumimoji="0" lang="en-US" b="0" i="0" u="none" strike="noStrike" kern="0" cap="none" spc="0" normalizeH="0" baseline="0" noProof="0">
                  <a:ln>
                    <a:noFill/>
                  </a:ln>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a:xfrm>
            <a:off x="1202919" y="284176"/>
            <a:ext cx="9784080" cy="1028789"/>
          </a:xfrm>
        </p:spPr>
        <p:txBody>
          <a:bodyPr/>
          <a:lstStyle/>
          <a:p>
            <a:r>
              <a:rPr lang="en-US" dirty="0">
                <a:solidFill>
                  <a:schemeClr val="tx1"/>
                </a:solidFill>
              </a:rPr>
              <a:t>together 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2275713"/>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961563"/>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dirty="0">
                <a:solidFill>
                  <a:schemeClr val="tx1"/>
                </a:solidFill>
              </a:rPr>
              <a:t>Export Data</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1"/>
                </a:solidFill>
                <a:effectLst/>
                <a:uLnTx/>
                <a:uFillTx/>
                <a:latin typeface="+mn-lt"/>
              </a:rPr>
              <a:t>Schedule exports </a:t>
            </a:r>
            <a:r>
              <a:rPr lang="en-US" sz="1600" dirty="0">
                <a:solidFill>
                  <a:schemeClr val="tx1"/>
                </a:soli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1"/>
                </a:solidFill>
                <a:effectLst/>
                <a:uLnTx/>
                <a:uFillTx/>
                <a:latin typeface="+mn-lt"/>
              </a:rPr>
              <a:t>Automatically loaded to </a:t>
            </a:r>
            <a:r>
              <a:rPr lang="en-US" sz="1600" dirty="0">
                <a:solidFill>
                  <a:schemeClr val="tx1"/>
                </a:solidFill>
                <a:latin typeface="+mn-lt"/>
              </a:rPr>
              <a:t>storage account</a:t>
            </a:r>
            <a:endParaRPr kumimoji="0" lang="en-US" sz="1600" b="0" i="0" u="none" strike="noStrike" kern="1200" cap="none" spc="0" normalizeH="0" baseline="0" noProof="0" dirty="0">
              <a:ln>
                <a:noFill/>
              </a:ln>
              <a:solidFill>
                <a:schemeClr val="tx1"/>
              </a:soli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1"/>
                </a:soli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a:xfrm>
            <a:off x="225778" y="284176"/>
            <a:ext cx="10761221" cy="1508760"/>
          </a:xfrm>
        </p:spPr>
        <p:txBody>
          <a:bodyPr/>
          <a:lstStyle/>
          <a:p>
            <a:r>
              <a:rPr lang="en-US" dirty="0"/>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56986" y="3073817"/>
            <a:ext cx="3828840" cy="1908215"/>
            <a:chOff x="596794" y="2434623"/>
            <a:chExt cx="3828840" cy="190821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Currently in private preview</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3828840" cy="1908215"/>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dirty="0">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effectLst/>
                <a:uLnTx/>
                <a:uFillTx/>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948707"/>
            <a:ext cx="4117302" cy="4093542"/>
          </a:xfrm>
          <a:prstGeom prst="rect">
            <a:avLst/>
          </a:prstGeom>
          <a:solidFill>
            <a:schemeClr val="tx2">
              <a:lumMod val="75000"/>
            </a:schemeClr>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2065127"/>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6058136"/>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684807" y="2133205"/>
            <a:ext cx="5816061" cy="3724096"/>
          </a:xfrm>
          <a:prstGeom prst="rect">
            <a:avLst/>
          </a:prstGeom>
          <a:solidFill>
            <a:schemeClr val="tx2">
              <a:lumMod val="75000"/>
            </a:schemeClr>
          </a:solidFill>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dirty="0">
                <a:solidFill>
                  <a:srgbClr val="0078D4"/>
                </a:solidFill>
                <a:latin typeface="+mj-lt"/>
              </a:rPr>
              <a:t>Finance codes </a:t>
            </a:r>
            <a:r>
              <a:rPr lang="en-US" sz="1800" dirty="0">
                <a:solidFill>
                  <a:schemeClr val="tx2"/>
                </a:solidFill>
                <a:latin typeface="+mn-lt"/>
              </a:rPr>
              <a:t>-</a:t>
            </a:r>
            <a:r>
              <a:rPr lang="en-US" sz="1800" dirty="0">
                <a:solidFill>
                  <a:srgbClr val="0078D4"/>
                </a:solidFill>
                <a:latin typeface="+mn-lt"/>
              </a:rPr>
              <a:t> </a:t>
            </a:r>
            <a:r>
              <a:rPr lang="en-US" sz="1600" dirty="0" err="1">
                <a:gradFill>
                  <a:gsLst>
                    <a:gs pos="1250">
                      <a:srgbClr val="1A1A1A"/>
                    </a:gs>
                    <a:gs pos="100000">
                      <a:srgbClr val="1A1A1A"/>
                    </a:gs>
                  </a:gsLst>
                  <a:lin ang="5400000" scaled="0"/>
                </a:gradFill>
                <a:latin typeface="+mn-lt"/>
              </a:rPr>
              <a:t>CostCenter</a:t>
            </a:r>
            <a:r>
              <a:rPr lang="en-US" sz="1600" dirty="0">
                <a:gradFill>
                  <a:gsLst>
                    <a:gs pos="1250">
                      <a:srgbClr val="1A1A1A"/>
                    </a:gs>
                    <a:gs pos="100000">
                      <a:srgbClr val="1A1A1A"/>
                    </a:gs>
                  </a:gsLst>
                  <a:lin ang="5400000" scaled="0"/>
                </a:gradFill>
                <a:latin typeface="+mn-lt"/>
              </a:rPr>
              <a:t> tag, etc.</a:t>
            </a:r>
            <a:endParaRPr lang="en-US" sz="1600" dirty="0">
              <a:gradFill>
                <a:gsLst>
                  <a:gs pos="1250">
                    <a:srgbClr val="1A1A1A"/>
                  </a:gs>
                  <a:gs pos="100000">
                    <a:srgbClr val="1A1A1A"/>
                  </a:gs>
                </a:gsLst>
                <a:lin ang="5400000" scaled="0"/>
              </a:gradFill>
            </a:endParaRPr>
          </a:p>
          <a:p>
            <a:pPr lvl="0">
              <a:spcBef>
                <a:spcPts val="600"/>
              </a:spcBef>
              <a:buClr>
                <a:srgbClr val="1A1A1A"/>
              </a:buClr>
              <a:defRPr/>
            </a:pPr>
            <a:r>
              <a:rPr lang="en-US" sz="1800" dirty="0">
                <a:solidFill>
                  <a:srgbClr val="0078D4"/>
                </a:solidFill>
                <a:latin typeface="+mj-lt"/>
              </a:rPr>
              <a:t>Application context</a:t>
            </a:r>
            <a:r>
              <a:rPr lang="en-US" sz="1800" dirty="0">
                <a:solidFill>
                  <a:srgbClr val="0078D4"/>
                </a:solidFill>
                <a:latin typeface="+mn-lt"/>
              </a:rPr>
              <a:t> </a:t>
            </a:r>
            <a:r>
              <a:rPr lang="en-US" sz="1800" dirty="0">
                <a:solidFill>
                  <a:schemeClr val="tx2"/>
                </a:solidFill>
                <a:latin typeface="+mn-lt"/>
              </a:rPr>
              <a:t>-</a:t>
            </a:r>
            <a:r>
              <a:rPr lang="en-US" sz="1800" dirty="0">
                <a:solidFill>
                  <a:srgbClr val="0078D4"/>
                </a:solidFill>
                <a:latin typeface="+mn-lt"/>
              </a:rPr>
              <a:t> </a:t>
            </a:r>
            <a:r>
              <a:rPr lang="en-US" sz="1600" dirty="0">
                <a:gradFill>
                  <a:gsLst>
                    <a:gs pos="1250">
                      <a:srgbClr val="1A1A1A"/>
                    </a:gs>
                    <a:gs pos="100000">
                      <a:srgbClr val="1A1A1A"/>
                    </a:gs>
                  </a:gsLst>
                  <a:lin ang="5400000" scaled="0"/>
                </a:gradFill>
                <a:latin typeface="+mn-lt"/>
              </a:rPr>
              <a:t>AppService tag, etc.</a:t>
            </a:r>
            <a:endParaRPr lang="en-US" sz="1600" dirty="0">
              <a:gradFill>
                <a:gsLst>
                  <a:gs pos="1250">
                    <a:srgbClr val="1A1A1A"/>
                  </a:gs>
                  <a:gs pos="100000">
                    <a:srgbClr val="1A1A1A"/>
                  </a:gs>
                </a:gsLst>
                <a:lin ang="5400000" scaled="0"/>
              </a:gradFill>
            </a:endParaRPr>
          </a:p>
          <a:p>
            <a:pPr lvl="0">
              <a:spcBef>
                <a:spcPts val="600"/>
              </a:spcBef>
              <a:buClr>
                <a:srgbClr val="1A1A1A"/>
              </a:buClr>
              <a:defRPr/>
            </a:pPr>
            <a:r>
              <a:rPr lang="en-US" sz="1800" dirty="0">
                <a:solidFill>
                  <a:srgbClr val="0078D4"/>
                </a:solidFill>
                <a:latin typeface="+mj-lt"/>
              </a:rPr>
              <a:t>Deployment context</a:t>
            </a:r>
            <a:r>
              <a:rPr lang="en-US" sz="1800" dirty="0">
                <a:solidFill>
                  <a:srgbClr val="0078D4"/>
                </a:solidFill>
                <a:latin typeface="+mn-lt"/>
              </a:rPr>
              <a:t> </a:t>
            </a:r>
            <a:r>
              <a:rPr lang="en-US" sz="1800" dirty="0">
                <a:solidFill>
                  <a:schemeClr val="tx2"/>
                </a:solidFill>
                <a:latin typeface="+mn-lt"/>
              </a:rPr>
              <a:t>-</a:t>
            </a:r>
            <a:r>
              <a:rPr lang="en-US" sz="1800" dirty="0">
                <a:solidFill>
                  <a:srgbClr val="0078D4"/>
                </a:solidFill>
                <a:latin typeface="+mn-lt"/>
              </a:rPr>
              <a:t> </a:t>
            </a:r>
            <a:r>
              <a:rPr lang="en-US" sz="1600" dirty="0">
                <a:gradFill>
                  <a:gsLst>
                    <a:gs pos="1250">
                      <a:srgbClr val="1A1A1A"/>
                    </a:gs>
                    <a:gs pos="100000">
                      <a:srgbClr val="1A1A1A"/>
                    </a:gs>
                  </a:gsLst>
                  <a:lin ang="5400000" scaled="0"/>
                </a:gradFill>
                <a:latin typeface="+mn-lt"/>
              </a:rPr>
              <a:t>Environment tag, etc.</a:t>
            </a:r>
            <a:endParaRPr lang="en-US" sz="1600" dirty="0">
              <a:gradFill>
                <a:gsLst>
                  <a:gs pos="1250">
                    <a:srgbClr val="1A1A1A"/>
                  </a:gs>
                  <a:gs pos="100000">
                    <a:srgbClr val="1A1A1A"/>
                  </a:gs>
                </a:gsLst>
                <a:lin ang="5400000" scaled="0"/>
              </a:gradFill>
            </a:endParaRPr>
          </a:p>
          <a:p>
            <a:pPr lvl="0">
              <a:spcBef>
                <a:spcPts val="600"/>
              </a:spcBef>
              <a:buClr>
                <a:srgbClr val="1A1A1A"/>
              </a:buClr>
              <a:defRPr/>
            </a:pPr>
            <a:r>
              <a:rPr lang="en-US" sz="1800" dirty="0">
                <a:solidFill>
                  <a:srgbClr val="0078D4"/>
                </a:solidFill>
                <a:latin typeface="+mj-lt"/>
              </a:rPr>
              <a:t>Who is accountable </a:t>
            </a:r>
            <a:r>
              <a:rPr lang="en-US" sz="1800" dirty="0">
                <a:solidFill>
                  <a:schemeClr val="tx2"/>
                </a:solidFill>
                <a:latin typeface="+mn-lt"/>
              </a:rPr>
              <a:t>-</a:t>
            </a:r>
            <a:r>
              <a:rPr lang="en-US" sz="1800" dirty="0">
                <a:solidFill>
                  <a:srgbClr val="0078D4"/>
                </a:solidFill>
                <a:latin typeface="+mn-lt"/>
              </a:rPr>
              <a:t> </a:t>
            </a:r>
            <a:r>
              <a:rPr lang="en-US" sz="1600" dirty="0" err="1">
                <a:gradFill>
                  <a:gsLst>
                    <a:gs pos="1250">
                      <a:srgbClr val="1A1A1A"/>
                    </a:gs>
                    <a:gs pos="100000">
                      <a:srgbClr val="1A1A1A"/>
                    </a:gs>
                  </a:gsLst>
                  <a:lin ang="5400000" scaled="0"/>
                </a:gradFill>
                <a:latin typeface="+mn-lt"/>
              </a:rPr>
              <a:t>BusinessOwner</a:t>
            </a:r>
            <a:r>
              <a:rPr lang="en-US" sz="1600" dirty="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dirty="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Audit if tags are missing</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dirty="0">
                <a:solidFill>
                  <a:schemeClr val="tx1"/>
                </a:solidFill>
              </a:rPr>
              <a:t>Monitor your costs using budgets</a:t>
            </a:r>
          </a:p>
          <a:p>
            <a:r>
              <a:rPr lang="en-US" sz="1800" dirty="0">
                <a:solidFill>
                  <a:schemeClr val="tx1"/>
                </a:solidFill>
              </a:rPr>
              <a:t>Get notified when threshold are met</a:t>
            </a:r>
          </a:p>
          <a:p>
            <a:r>
              <a:rPr lang="en-US" sz="1800" dirty="0">
                <a:solidFill>
                  <a:schemeClr val="tx1"/>
                </a:solidFill>
              </a:rPr>
              <a:t>Automate with Action Groups</a:t>
            </a:r>
          </a:p>
          <a:p>
            <a:r>
              <a:rPr lang="en-US" sz="1800" dirty="0">
                <a:solidFill>
                  <a:schemeClr val="tx1"/>
                </a:solidFill>
              </a:rPr>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1819527835"/>
              </p:ext>
            </p:extLst>
          </p:nvPr>
        </p:nvGraphicFramePr>
        <p:xfrm>
          <a:off x="778934" y="1095345"/>
          <a:ext cx="6705600" cy="5184270"/>
        </p:xfrm>
        <a:graphic>
          <a:graphicData uri="http://schemas.openxmlformats.org/drawingml/2006/table">
            <a:tbl>
              <a:tblPr firstRow="1" bandRow="1">
                <a:tableStyleId>{21E4AEA4-8DFA-4A89-87EB-49C32662AFE0}</a:tableStyleId>
              </a:tblPr>
              <a:tblGrid>
                <a:gridCol w="4565272">
                  <a:extLst>
                    <a:ext uri="{9D8B030D-6E8A-4147-A177-3AD203B41FA5}">
                      <a16:colId xmlns:a16="http://schemas.microsoft.com/office/drawing/2014/main" val="4018181522"/>
                    </a:ext>
                  </a:extLst>
                </a:gridCol>
                <a:gridCol w="2140328">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strike="sngStrike" dirty="0"/>
                        <a:t>Logistics</a:t>
                      </a:r>
                    </a:p>
                  </a:txBody>
                  <a:tcPr marL="91898" marR="91898" marT="45949" marB="45949"/>
                </a:tc>
                <a:tc>
                  <a:txBody>
                    <a:bodyPr/>
                    <a:lstStyle/>
                    <a:p>
                      <a:r>
                        <a:rPr lang="en-US" sz="2000" strike="sngStrike"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dirty="0"/>
                        <a:t>Overview</a:t>
                      </a:r>
                    </a:p>
                  </a:txBody>
                  <a:tcPr marL="91898" marR="91898" marT="45949" marB="45949"/>
                </a:tc>
                <a:tc>
                  <a:txBody>
                    <a:bodyPr/>
                    <a:lstStyle/>
                    <a:p>
                      <a:r>
                        <a:rPr lang="en-US" sz="2000" dirty="0"/>
                        <a:t>9:45am</a:t>
                      </a:r>
                    </a:p>
                  </a:txBody>
                  <a:tcPr marL="91898" marR="91898" marT="45949" marB="45949"/>
                </a:tc>
                <a:extLst>
                  <a:ext uri="{0D108BD9-81ED-4DB2-BD59-A6C34878D82A}">
                    <a16:rowId xmlns:a16="http://schemas.microsoft.com/office/drawing/2014/main" val="1615664802"/>
                  </a:ext>
                </a:extLst>
              </a:tr>
              <a:tr h="423894">
                <a:tc>
                  <a:txBody>
                    <a:bodyPr/>
                    <a:lstStyle/>
                    <a:p>
                      <a:r>
                        <a:rPr lang="en-US" sz="2000" dirty="0"/>
                        <a:t>Enrollment Setup, Management Groups</a:t>
                      </a:r>
                    </a:p>
                  </a:txBody>
                  <a:tcPr marL="91898" marR="91898" marT="45949" marB="45949"/>
                </a:tc>
                <a:tc>
                  <a:txBody>
                    <a:bodyPr/>
                    <a:lstStyle/>
                    <a:p>
                      <a:r>
                        <a:rPr lang="en-US" sz="2000" dirty="0"/>
                        <a:t>10:00 – 10: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dirty="0"/>
                        <a:t>Challenge </a:t>
                      </a:r>
                    </a:p>
                  </a:txBody>
                  <a:tcPr marL="91898" marR="91898" marT="45949" marB="45949"/>
                </a:tc>
                <a:tc>
                  <a:txBody>
                    <a:bodyPr/>
                    <a:lstStyle/>
                    <a:p>
                      <a:r>
                        <a:rPr lang="en-US" sz="2000" dirty="0"/>
                        <a:t>10:30 – 11:00am</a:t>
                      </a:r>
                    </a:p>
                  </a:txBody>
                  <a:tcPr marL="91898" marR="91898" marT="45949" marB="45949"/>
                </a:tc>
                <a:extLst>
                  <a:ext uri="{0D108BD9-81ED-4DB2-BD59-A6C34878D82A}">
                    <a16:rowId xmlns:a16="http://schemas.microsoft.com/office/drawing/2014/main" val="2312324020"/>
                  </a:ext>
                </a:extLst>
              </a:tr>
              <a:tr h="394552">
                <a:tc>
                  <a:txBody>
                    <a:bodyPr/>
                    <a:lstStyle/>
                    <a:p>
                      <a:r>
                        <a:rPr lang="en-US" sz="2000" dirty="0"/>
                        <a:t>Azure Policy and RBAC</a:t>
                      </a:r>
                    </a:p>
                  </a:txBody>
                  <a:tcPr marL="91898" marR="91898" marT="45949" marB="45949"/>
                </a:tc>
                <a:tc>
                  <a:txBody>
                    <a:bodyPr/>
                    <a:lstStyle/>
                    <a:p>
                      <a:r>
                        <a:rPr lang="en-US" sz="2000" dirty="0"/>
                        <a:t>11:00 – 11:3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dirty="0"/>
                        <a:t>Challenge</a:t>
                      </a:r>
                    </a:p>
                  </a:txBody>
                  <a:tcPr marL="91898" marR="91898" marT="45949" marB="45949"/>
                </a:tc>
                <a:tc>
                  <a:txBody>
                    <a:bodyPr/>
                    <a:lstStyle/>
                    <a:p>
                      <a:r>
                        <a:rPr lang="en-US" sz="2000" dirty="0"/>
                        <a:t>11:3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dirty="0"/>
                        <a:t>Lunch</a:t>
                      </a:r>
                    </a:p>
                  </a:txBody>
                  <a:tcPr marL="91898" marR="91898" marT="45949" marB="45949"/>
                </a:tc>
                <a:tc>
                  <a:txBody>
                    <a:bodyPr/>
                    <a:lstStyle/>
                    <a:p>
                      <a:r>
                        <a:rPr lang="en-US" sz="2000"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dirty="0"/>
                        <a:t>Blueprints</a:t>
                      </a:r>
                    </a:p>
                  </a:txBody>
                  <a:tcPr marL="91898" marR="91898" marT="45949" marB="45949"/>
                </a:tc>
                <a:tc>
                  <a:txBody>
                    <a:bodyPr/>
                    <a:lstStyle/>
                    <a:p>
                      <a:r>
                        <a:rPr lang="en-US" sz="2000"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dirty="0"/>
                        <a:t>Challenge</a:t>
                      </a:r>
                    </a:p>
                  </a:txBody>
                  <a:tcPr marL="91898" marR="91898" marT="45949" marB="45949"/>
                </a:tc>
                <a:tc>
                  <a:txBody>
                    <a:bodyPr/>
                    <a:lstStyle/>
                    <a:p>
                      <a:r>
                        <a:rPr lang="en-US" sz="2000"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dirty="0"/>
                        <a:t>Cost Management</a:t>
                      </a:r>
                    </a:p>
                  </a:txBody>
                  <a:tcPr marL="91898" marR="91898" marT="45949" marB="45949"/>
                </a:tc>
                <a:tc>
                  <a:txBody>
                    <a:bodyPr/>
                    <a:lstStyle/>
                    <a:p>
                      <a:r>
                        <a:rPr lang="en-US" sz="2000"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dirty="0"/>
                        <a:t>Challenge</a:t>
                      </a:r>
                    </a:p>
                  </a:txBody>
                  <a:tcPr marL="91898" marR="91898" marT="45949" marB="45949"/>
                </a:tc>
                <a:tc>
                  <a:txBody>
                    <a:bodyPr/>
                    <a:lstStyle/>
                    <a:p>
                      <a:r>
                        <a:rPr lang="en-US" sz="2000"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361337768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a:xfrm>
            <a:off x="584200" y="2095077"/>
            <a:ext cx="11018520" cy="3588675"/>
          </a:xfrm>
        </p:spPr>
        <p:txBody>
          <a:bodyPr/>
          <a:lstStyle/>
          <a:p>
            <a:pPr marL="0" indent="0">
              <a:buNone/>
            </a:pPr>
            <a:r>
              <a:rPr lang="en-US" sz="2000" b="1" dirty="0">
                <a:latin typeface="+mj-lt"/>
                <a:cs typeface="Segoe UI" panose="020B0502040204020203" pitchFamily="34" charset="0"/>
              </a:rPr>
              <a:t>The workload will run fine in all three VM sizes</a:t>
            </a:r>
            <a:endParaRPr lang="en-US" sz="1400" b="1" dirty="0">
              <a:latin typeface="+mj-lt"/>
              <a:cs typeface="Segoe UI" panose="020B0502040204020203" pitchFamily="34" charset="0"/>
            </a:endParaRPr>
          </a:p>
          <a:p>
            <a:pPr marL="0" indent="0">
              <a:spcBef>
                <a:spcPts val="1200"/>
              </a:spcBef>
              <a:buNone/>
            </a:pPr>
            <a:br>
              <a:rPr lang="en-US" sz="18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Which will a developer </a:t>
            </a:r>
            <a:br>
              <a:rPr lang="en-US" sz="20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naturally choose?</a:t>
            </a:r>
          </a:p>
          <a:p>
            <a:pPr marL="0" indent="0">
              <a:spcBef>
                <a:spcPts val="1200"/>
              </a:spcBef>
              <a:buNone/>
            </a:pPr>
            <a:r>
              <a:rPr lang="en-US" sz="2000" dirty="0">
                <a:latin typeface="Segoe UI" panose="020B0502040204020203" pitchFamily="34" charset="0"/>
                <a:cs typeface="Segoe UI" panose="020B0502040204020203" pitchFamily="34" charset="0"/>
              </a:rPr>
              <a:t>Which will deliver more </a:t>
            </a:r>
            <a:br>
              <a:rPr lang="en-US" sz="20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success to the business?</a:t>
            </a:r>
          </a:p>
          <a:p>
            <a:pPr marL="0" indent="0">
              <a:spcBef>
                <a:spcPts val="1200"/>
              </a:spcBef>
              <a:buNone/>
            </a:pPr>
            <a:r>
              <a:rPr lang="en-US" sz="2000" dirty="0">
                <a:latin typeface="Segoe UI" panose="020B0502040204020203" pitchFamily="34" charset="0"/>
                <a:cs typeface="Segoe UI" panose="020B0502040204020203" pitchFamily="34" charset="0"/>
              </a:rPr>
              <a:t>Which one will make </a:t>
            </a:r>
            <a:br>
              <a:rPr lang="en-US" sz="20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managers and finance want </a:t>
            </a:r>
            <a:br>
              <a:rPr lang="en-US" sz="2000" dirty="0">
                <a:latin typeface="Segoe UI" panose="020B0502040204020203" pitchFamily="34" charset="0"/>
                <a:cs typeface="Segoe UI" panose="020B0502040204020203" pitchFamily="34" charset="0"/>
              </a:rPr>
            </a:br>
            <a:r>
              <a:rPr lang="en-US" sz="2000" dirty="0">
                <a:latin typeface="Segoe UI" panose="020B0502040204020203" pitchFamily="34" charset="0"/>
                <a:cs typeface="Segoe UI" panose="020B0502040204020203" pitchFamily="34" charset="0"/>
              </a:rPr>
              <a:t>more things in the cloud?</a:t>
            </a:r>
          </a:p>
          <a:p>
            <a:pPr marL="614363" lvl="3" indent="0">
              <a:buNone/>
            </a:pPr>
            <a:endParaRPr lang="en-US" sz="1600" dirty="0"/>
          </a:p>
        </p:txBody>
      </p:sp>
      <p:sp>
        <p:nvSpPr>
          <p:cNvPr id="5" name="Title 4"/>
          <p:cNvSpPr>
            <a:spLocks noGrp="1"/>
          </p:cNvSpPr>
          <p:nvPr>
            <p:ph type="title"/>
          </p:nvPr>
        </p:nvSpPr>
        <p:spPr/>
        <p:txBody>
          <a:bodyPr/>
          <a:lstStyle/>
          <a:p>
            <a:r>
              <a:rPr lang="en-US" dirty="0">
                <a:solidFill>
                  <a:schemeClr val="tx1"/>
                </a:solidFill>
              </a:rPr>
              <a:t>Cost optimization</a:t>
            </a:r>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699511"/>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623681"/>
            <a:ext cx="9376100" cy="400110"/>
          </a:xfrm>
          <a:prstGeom prst="rect">
            <a:avLst/>
          </a:prstGeom>
        </p:spPr>
        <p:txBody>
          <a:bodyPr wrap="square">
            <a:spAutoFit/>
          </a:bodyPr>
          <a:lstStyle/>
          <a:p>
            <a:r>
              <a:rPr lang="en-US" sz="2000" dirty="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761D1-F1A4-40B7-9DA7-42E2E7614744}"/>
              </a:ext>
            </a:extLst>
          </p:cNvPr>
          <p:cNvSpPr>
            <a:spLocks noGrp="1"/>
          </p:cNvSpPr>
          <p:nvPr>
            <p:ph type="title"/>
          </p:nvPr>
        </p:nvSpPr>
        <p:spPr/>
        <p:txBody>
          <a:bodyPr/>
          <a:lstStyle/>
          <a:p>
            <a:r>
              <a:rPr lang="en-US" dirty="0"/>
              <a:t>Demo</a:t>
            </a:r>
          </a:p>
        </p:txBody>
      </p:sp>
      <p:sp>
        <p:nvSpPr>
          <p:cNvPr id="5" name="Text Placeholder 4">
            <a:extLst>
              <a:ext uri="{FF2B5EF4-FFF2-40B4-BE49-F238E27FC236}">
                <a16:creationId xmlns:a16="http://schemas.microsoft.com/office/drawing/2014/main" id="{E73F3586-7F3E-407B-BD80-4C19B161078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3404321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337674"/>
            <a:ext cx="8511829" cy="794023"/>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Cost Management Demo</a:t>
            </a:r>
          </a:p>
        </p:txBody>
      </p:sp>
      <p:sp>
        <p:nvSpPr>
          <p:cNvPr id="6" name="TextBox 5">
            <a:extLst>
              <a:ext uri="{FF2B5EF4-FFF2-40B4-BE49-F238E27FC236}">
                <a16:creationId xmlns:a16="http://schemas.microsoft.com/office/drawing/2014/main" id="{E82AF2CA-3E44-4D97-8EB5-C7709F657D3D}"/>
              </a:ext>
            </a:extLst>
          </p:cNvPr>
          <p:cNvSpPr txBox="1"/>
          <p:nvPr/>
        </p:nvSpPr>
        <p:spPr>
          <a:xfrm>
            <a:off x="458000" y="2079171"/>
            <a:ext cx="7662743"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t>Create a budget for your subscription (subscription limit is $100)</a:t>
            </a:r>
          </a:p>
          <a:p>
            <a:pPr marL="285750" indent="-285750">
              <a:buFont typeface="Arial" panose="020B0604020202020204" pitchFamily="34" charset="0"/>
              <a:buChar char="•"/>
            </a:pPr>
            <a:r>
              <a:rPr lang="en-US" sz="2800" dirty="0"/>
              <a:t>Create an alert for your subscription that fires when the spend exceeds $15</a:t>
            </a:r>
          </a:p>
          <a:p>
            <a:pPr marL="285750" indent="-285750">
              <a:buFont typeface="Arial" panose="020B0604020202020204" pitchFamily="34" charset="0"/>
              <a:buChar char="•"/>
            </a:pPr>
            <a:endParaRPr lang="en-US" sz="2800" dirty="0"/>
          </a:p>
          <a:p>
            <a:endParaRPr lang="en-US" sz="2800" dirty="0"/>
          </a:p>
        </p:txBody>
      </p:sp>
    </p:spTree>
    <p:extLst>
      <p:ext uri="{BB962C8B-B14F-4D97-AF65-F5344CB8AC3E}">
        <p14:creationId xmlns:p14="http://schemas.microsoft.com/office/powerpoint/2010/main" val="115661515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01C2F7-6D13-4C3B-A68E-1BE9D8A480F9}"/>
              </a:ext>
            </a:extLst>
          </p:cNvPr>
          <p:cNvSpPr>
            <a:spLocks noGrp="1"/>
          </p:cNvSpPr>
          <p:nvPr>
            <p:ph type="title"/>
          </p:nvPr>
        </p:nvSpPr>
        <p:spPr>
          <a:xfrm>
            <a:off x="7865806" y="2194560"/>
            <a:ext cx="4001729" cy="1739347"/>
          </a:xfrm>
        </p:spPr>
        <p:txBody>
          <a:bodyPr vert="horz" lIns="91440" tIns="45720" rIns="91440" bIns="45720" rtlCol="0" anchor="ctr">
            <a:normAutofit/>
          </a:bodyPr>
          <a:lstStyle/>
          <a:p>
            <a:pPr algn="ctr">
              <a:lnSpc>
                <a:spcPct val="80000"/>
              </a:lnSpc>
            </a:pPr>
            <a:r>
              <a:rPr lang="en-US" sz="4800" spc="150">
                <a:solidFill>
                  <a:srgbClr val="FFFFFF"/>
                </a:solidFill>
              </a:rPr>
              <a:t>Agenda</a:t>
            </a:r>
          </a:p>
        </p:txBody>
      </p:sp>
      <p:graphicFrame>
        <p:nvGraphicFramePr>
          <p:cNvPr id="7" name="Table 7">
            <a:extLst>
              <a:ext uri="{FF2B5EF4-FFF2-40B4-BE49-F238E27FC236}">
                <a16:creationId xmlns:a16="http://schemas.microsoft.com/office/drawing/2014/main" id="{271A7CC8-81DD-4A8B-8079-5DC14A06DE43}"/>
              </a:ext>
            </a:extLst>
          </p:cNvPr>
          <p:cNvGraphicFramePr>
            <a:graphicFrameLocks noGrp="1"/>
          </p:cNvGraphicFramePr>
          <p:nvPr>
            <p:extLst>
              <p:ext uri="{D42A27DB-BD31-4B8C-83A1-F6EECF244321}">
                <p14:modId xmlns:p14="http://schemas.microsoft.com/office/powerpoint/2010/main" val="4227439719"/>
              </p:ext>
            </p:extLst>
          </p:nvPr>
        </p:nvGraphicFramePr>
        <p:xfrm>
          <a:off x="778934" y="1095345"/>
          <a:ext cx="6705600" cy="5184270"/>
        </p:xfrm>
        <a:graphic>
          <a:graphicData uri="http://schemas.openxmlformats.org/drawingml/2006/table">
            <a:tbl>
              <a:tblPr firstRow="1" bandRow="1">
                <a:tableStyleId>{21E4AEA4-8DFA-4A89-87EB-49C32662AFE0}</a:tableStyleId>
              </a:tblPr>
              <a:tblGrid>
                <a:gridCol w="4565272">
                  <a:extLst>
                    <a:ext uri="{9D8B030D-6E8A-4147-A177-3AD203B41FA5}">
                      <a16:colId xmlns:a16="http://schemas.microsoft.com/office/drawing/2014/main" val="4018181522"/>
                    </a:ext>
                  </a:extLst>
                </a:gridCol>
                <a:gridCol w="2140328">
                  <a:extLst>
                    <a:ext uri="{9D8B030D-6E8A-4147-A177-3AD203B41FA5}">
                      <a16:colId xmlns:a16="http://schemas.microsoft.com/office/drawing/2014/main" val="2938112262"/>
                    </a:ext>
                  </a:extLst>
                </a:gridCol>
              </a:tblGrid>
              <a:tr h="394552">
                <a:tc>
                  <a:txBody>
                    <a:bodyPr/>
                    <a:lstStyle/>
                    <a:p>
                      <a:r>
                        <a:rPr lang="en-US" sz="2000" dirty="0"/>
                        <a:t>Topic</a:t>
                      </a:r>
                    </a:p>
                  </a:txBody>
                  <a:tcPr marL="91898" marR="91898" marT="45949" marB="45949"/>
                </a:tc>
                <a:tc>
                  <a:txBody>
                    <a:bodyPr/>
                    <a:lstStyle/>
                    <a:p>
                      <a:r>
                        <a:rPr lang="en-US" sz="2000" dirty="0"/>
                        <a:t>Time</a:t>
                      </a:r>
                    </a:p>
                  </a:txBody>
                  <a:tcPr marL="91898" marR="91898" marT="45949" marB="45949"/>
                </a:tc>
                <a:extLst>
                  <a:ext uri="{0D108BD9-81ED-4DB2-BD59-A6C34878D82A}">
                    <a16:rowId xmlns:a16="http://schemas.microsoft.com/office/drawing/2014/main" val="1166608315"/>
                  </a:ext>
                </a:extLst>
              </a:tr>
              <a:tr h="394552">
                <a:tc>
                  <a:txBody>
                    <a:bodyPr/>
                    <a:lstStyle/>
                    <a:p>
                      <a:r>
                        <a:rPr lang="en-US" sz="2000" strike="sngStrike" dirty="0"/>
                        <a:t>Logistics</a:t>
                      </a:r>
                    </a:p>
                  </a:txBody>
                  <a:tcPr marL="91898" marR="91898" marT="45949" marB="45949"/>
                </a:tc>
                <a:tc>
                  <a:txBody>
                    <a:bodyPr/>
                    <a:lstStyle/>
                    <a:p>
                      <a:r>
                        <a:rPr lang="en-US" sz="2000" strike="sngStrike" dirty="0"/>
                        <a:t>9:30am</a:t>
                      </a:r>
                    </a:p>
                  </a:txBody>
                  <a:tcPr marL="91898" marR="91898" marT="45949" marB="45949"/>
                </a:tc>
                <a:extLst>
                  <a:ext uri="{0D108BD9-81ED-4DB2-BD59-A6C34878D82A}">
                    <a16:rowId xmlns:a16="http://schemas.microsoft.com/office/drawing/2014/main" val="2181113356"/>
                  </a:ext>
                </a:extLst>
              </a:tr>
              <a:tr h="394552">
                <a:tc>
                  <a:txBody>
                    <a:bodyPr/>
                    <a:lstStyle/>
                    <a:p>
                      <a:r>
                        <a:rPr lang="en-US" sz="2000" strike="sngStrike" dirty="0"/>
                        <a:t>Overview</a:t>
                      </a:r>
                    </a:p>
                  </a:txBody>
                  <a:tcPr marL="91898" marR="91898" marT="45949" marB="45949"/>
                </a:tc>
                <a:tc>
                  <a:txBody>
                    <a:bodyPr/>
                    <a:lstStyle/>
                    <a:p>
                      <a:r>
                        <a:rPr lang="en-US" sz="2000" strike="sngStrike" dirty="0"/>
                        <a:t>9:45am</a:t>
                      </a:r>
                    </a:p>
                  </a:txBody>
                  <a:tcPr marL="91898" marR="91898" marT="45949" marB="45949"/>
                </a:tc>
                <a:extLst>
                  <a:ext uri="{0D108BD9-81ED-4DB2-BD59-A6C34878D82A}">
                    <a16:rowId xmlns:a16="http://schemas.microsoft.com/office/drawing/2014/main" val="1615664802"/>
                  </a:ext>
                </a:extLst>
              </a:tr>
              <a:tr h="423894">
                <a:tc>
                  <a:txBody>
                    <a:bodyPr/>
                    <a:lstStyle/>
                    <a:p>
                      <a:r>
                        <a:rPr lang="en-US" sz="2000" strike="sngStrike" dirty="0"/>
                        <a:t>Enrollment Setup, Management Groups</a:t>
                      </a:r>
                    </a:p>
                  </a:txBody>
                  <a:tcPr marL="91898" marR="91898" marT="45949" marB="45949"/>
                </a:tc>
                <a:tc>
                  <a:txBody>
                    <a:bodyPr/>
                    <a:lstStyle/>
                    <a:p>
                      <a:r>
                        <a:rPr lang="en-US" sz="2000" strike="sngStrike" dirty="0"/>
                        <a:t>10:00 – 10:30am</a:t>
                      </a:r>
                    </a:p>
                  </a:txBody>
                  <a:tcPr marL="91898" marR="91898" marT="45949" marB="45949"/>
                </a:tc>
                <a:extLst>
                  <a:ext uri="{0D108BD9-81ED-4DB2-BD59-A6C34878D82A}">
                    <a16:rowId xmlns:a16="http://schemas.microsoft.com/office/drawing/2014/main" val="3713498784"/>
                  </a:ext>
                </a:extLst>
              </a:tr>
              <a:tr h="394552">
                <a:tc>
                  <a:txBody>
                    <a:bodyPr/>
                    <a:lstStyle/>
                    <a:p>
                      <a:r>
                        <a:rPr lang="en-US" sz="2000" strike="sngStrike" dirty="0"/>
                        <a:t>Challenge </a:t>
                      </a:r>
                    </a:p>
                  </a:txBody>
                  <a:tcPr marL="91898" marR="91898" marT="45949" marB="45949"/>
                </a:tc>
                <a:tc>
                  <a:txBody>
                    <a:bodyPr/>
                    <a:lstStyle/>
                    <a:p>
                      <a:r>
                        <a:rPr lang="en-US" sz="2000" strike="sngStrike" dirty="0"/>
                        <a:t>10:30 – 11:00am</a:t>
                      </a:r>
                    </a:p>
                  </a:txBody>
                  <a:tcPr marL="91898" marR="91898" marT="45949" marB="45949"/>
                </a:tc>
                <a:extLst>
                  <a:ext uri="{0D108BD9-81ED-4DB2-BD59-A6C34878D82A}">
                    <a16:rowId xmlns:a16="http://schemas.microsoft.com/office/drawing/2014/main" val="2312324020"/>
                  </a:ext>
                </a:extLst>
              </a:tr>
              <a:tr h="394552">
                <a:tc>
                  <a:txBody>
                    <a:bodyPr/>
                    <a:lstStyle/>
                    <a:p>
                      <a:r>
                        <a:rPr lang="en-US" sz="2000" strike="sngStrike" dirty="0"/>
                        <a:t>Azure Policy and RBAC</a:t>
                      </a:r>
                    </a:p>
                  </a:txBody>
                  <a:tcPr marL="91898" marR="91898" marT="45949" marB="45949"/>
                </a:tc>
                <a:tc>
                  <a:txBody>
                    <a:bodyPr/>
                    <a:lstStyle/>
                    <a:p>
                      <a:r>
                        <a:rPr lang="en-US" sz="2000" strike="sngStrike" dirty="0"/>
                        <a:t>11:00 – 11:30pm</a:t>
                      </a:r>
                    </a:p>
                  </a:txBody>
                  <a:tcPr marL="91898" marR="91898" marT="45949" marB="45949"/>
                </a:tc>
                <a:extLst>
                  <a:ext uri="{0D108BD9-81ED-4DB2-BD59-A6C34878D82A}">
                    <a16:rowId xmlns:a16="http://schemas.microsoft.com/office/drawing/2014/main" val="4293611818"/>
                  </a:ext>
                </a:extLst>
              </a:tr>
              <a:tr h="394552">
                <a:tc>
                  <a:txBody>
                    <a:bodyPr/>
                    <a:lstStyle/>
                    <a:p>
                      <a:r>
                        <a:rPr lang="en-US" sz="2000" strike="sngStrike" dirty="0"/>
                        <a:t>Challenge</a:t>
                      </a:r>
                    </a:p>
                  </a:txBody>
                  <a:tcPr marL="91898" marR="91898" marT="45949" marB="45949"/>
                </a:tc>
                <a:tc>
                  <a:txBody>
                    <a:bodyPr/>
                    <a:lstStyle/>
                    <a:p>
                      <a:r>
                        <a:rPr lang="en-US" sz="2000" strike="sngStrike" dirty="0"/>
                        <a:t>11:30 – 12:30pm</a:t>
                      </a:r>
                    </a:p>
                  </a:txBody>
                  <a:tcPr marL="91898" marR="91898" marT="45949" marB="45949"/>
                </a:tc>
                <a:extLst>
                  <a:ext uri="{0D108BD9-81ED-4DB2-BD59-A6C34878D82A}">
                    <a16:rowId xmlns:a16="http://schemas.microsoft.com/office/drawing/2014/main" val="1423014605"/>
                  </a:ext>
                </a:extLst>
              </a:tr>
              <a:tr h="394552">
                <a:tc>
                  <a:txBody>
                    <a:bodyPr/>
                    <a:lstStyle/>
                    <a:p>
                      <a:r>
                        <a:rPr lang="en-US" sz="2000" strike="sngStrike" dirty="0"/>
                        <a:t>Lunch</a:t>
                      </a:r>
                    </a:p>
                  </a:txBody>
                  <a:tcPr marL="91898" marR="91898" marT="45949" marB="45949"/>
                </a:tc>
                <a:tc>
                  <a:txBody>
                    <a:bodyPr/>
                    <a:lstStyle/>
                    <a:p>
                      <a:r>
                        <a:rPr lang="en-US" sz="2000" strike="sngStrike" dirty="0"/>
                        <a:t>12:30 – 1:30pm</a:t>
                      </a:r>
                    </a:p>
                  </a:txBody>
                  <a:tcPr marL="91898" marR="91898" marT="45949" marB="45949"/>
                </a:tc>
                <a:extLst>
                  <a:ext uri="{0D108BD9-81ED-4DB2-BD59-A6C34878D82A}">
                    <a16:rowId xmlns:a16="http://schemas.microsoft.com/office/drawing/2014/main" val="1909115079"/>
                  </a:ext>
                </a:extLst>
              </a:tr>
              <a:tr h="394552">
                <a:tc>
                  <a:txBody>
                    <a:bodyPr/>
                    <a:lstStyle/>
                    <a:p>
                      <a:r>
                        <a:rPr lang="en-US" sz="2000" strike="sngStrike" dirty="0"/>
                        <a:t>Blueprints</a:t>
                      </a:r>
                    </a:p>
                  </a:txBody>
                  <a:tcPr marL="91898" marR="91898" marT="45949" marB="45949"/>
                </a:tc>
                <a:tc>
                  <a:txBody>
                    <a:bodyPr/>
                    <a:lstStyle/>
                    <a:p>
                      <a:r>
                        <a:rPr lang="en-US" sz="2000" strike="sngStrike" dirty="0"/>
                        <a:t>1:30 – 2:00pm</a:t>
                      </a:r>
                    </a:p>
                  </a:txBody>
                  <a:tcPr marL="91898" marR="91898" marT="45949" marB="45949"/>
                </a:tc>
                <a:extLst>
                  <a:ext uri="{0D108BD9-81ED-4DB2-BD59-A6C34878D82A}">
                    <a16:rowId xmlns:a16="http://schemas.microsoft.com/office/drawing/2014/main" val="1780686894"/>
                  </a:ext>
                </a:extLst>
              </a:tr>
              <a:tr h="394552">
                <a:tc>
                  <a:txBody>
                    <a:bodyPr/>
                    <a:lstStyle/>
                    <a:p>
                      <a:r>
                        <a:rPr lang="en-US" sz="2000" strike="sngStrike" dirty="0"/>
                        <a:t>Challenge</a:t>
                      </a:r>
                    </a:p>
                  </a:txBody>
                  <a:tcPr marL="91898" marR="91898" marT="45949" marB="45949"/>
                </a:tc>
                <a:tc>
                  <a:txBody>
                    <a:bodyPr/>
                    <a:lstStyle/>
                    <a:p>
                      <a:r>
                        <a:rPr lang="en-US" sz="2000" strike="sngStrike" dirty="0"/>
                        <a:t>2:00 – 2:30pm</a:t>
                      </a:r>
                    </a:p>
                  </a:txBody>
                  <a:tcPr marL="91898" marR="91898" marT="45949" marB="45949"/>
                </a:tc>
                <a:extLst>
                  <a:ext uri="{0D108BD9-81ED-4DB2-BD59-A6C34878D82A}">
                    <a16:rowId xmlns:a16="http://schemas.microsoft.com/office/drawing/2014/main" val="765978375"/>
                  </a:ext>
                </a:extLst>
              </a:tr>
              <a:tr h="394552">
                <a:tc>
                  <a:txBody>
                    <a:bodyPr/>
                    <a:lstStyle/>
                    <a:p>
                      <a:r>
                        <a:rPr lang="en-US" sz="2000" strike="sngStrike" dirty="0"/>
                        <a:t>Cost Management</a:t>
                      </a:r>
                    </a:p>
                  </a:txBody>
                  <a:tcPr marL="91898" marR="91898" marT="45949" marB="45949"/>
                </a:tc>
                <a:tc>
                  <a:txBody>
                    <a:bodyPr/>
                    <a:lstStyle/>
                    <a:p>
                      <a:r>
                        <a:rPr lang="en-US" sz="2000" strike="sngStrike" dirty="0"/>
                        <a:t>2:30 – 3:00pm</a:t>
                      </a:r>
                    </a:p>
                  </a:txBody>
                  <a:tcPr marL="91898" marR="91898" marT="45949" marB="45949"/>
                </a:tc>
                <a:extLst>
                  <a:ext uri="{0D108BD9-81ED-4DB2-BD59-A6C34878D82A}">
                    <a16:rowId xmlns:a16="http://schemas.microsoft.com/office/drawing/2014/main" val="1149349951"/>
                  </a:ext>
                </a:extLst>
              </a:tr>
              <a:tr h="394552">
                <a:tc>
                  <a:txBody>
                    <a:bodyPr/>
                    <a:lstStyle/>
                    <a:p>
                      <a:r>
                        <a:rPr lang="en-US" sz="2000" strike="sngStrike" dirty="0"/>
                        <a:t>Challenge</a:t>
                      </a:r>
                    </a:p>
                  </a:txBody>
                  <a:tcPr marL="91898" marR="91898" marT="45949" marB="45949"/>
                </a:tc>
                <a:tc>
                  <a:txBody>
                    <a:bodyPr/>
                    <a:lstStyle/>
                    <a:p>
                      <a:r>
                        <a:rPr lang="en-US" sz="2000" strike="sngStrike" dirty="0"/>
                        <a:t>3:00 – 3:30pm</a:t>
                      </a:r>
                    </a:p>
                  </a:txBody>
                  <a:tcPr marL="91898" marR="91898" marT="45949" marB="45949"/>
                </a:tc>
                <a:extLst>
                  <a:ext uri="{0D108BD9-81ED-4DB2-BD59-A6C34878D82A}">
                    <a16:rowId xmlns:a16="http://schemas.microsoft.com/office/drawing/2014/main" val="3279916527"/>
                  </a:ext>
                </a:extLst>
              </a:tr>
              <a:tr h="394552">
                <a:tc>
                  <a:txBody>
                    <a:bodyPr/>
                    <a:lstStyle/>
                    <a:p>
                      <a:r>
                        <a:rPr lang="en-US" sz="2000" dirty="0"/>
                        <a:t>Closing</a:t>
                      </a:r>
                    </a:p>
                  </a:txBody>
                  <a:tcPr marL="91898" marR="91898" marT="45949" marB="45949"/>
                </a:tc>
                <a:tc>
                  <a:txBody>
                    <a:bodyPr/>
                    <a:lstStyle/>
                    <a:p>
                      <a:r>
                        <a:rPr lang="en-US" sz="2000" dirty="0"/>
                        <a:t>3:30 – 4:00pm</a:t>
                      </a:r>
                    </a:p>
                  </a:txBody>
                  <a:tcPr marL="91898" marR="91898" marT="45949" marB="45949"/>
                </a:tc>
                <a:extLst>
                  <a:ext uri="{0D108BD9-81ED-4DB2-BD59-A6C34878D82A}">
                    <a16:rowId xmlns:a16="http://schemas.microsoft.com/office/drawing/2014/main" val="406623791"/>
                  </a:ext>
                </a:extLst>
              </a:tr>
            </a:tbl>
          </a:graphicData>
        </a:graphic>
      </p:graphicFrame>
    </p:spTree>
    <p:extLst>
      <p:ext uri="{BB962C8B-B14F-4D97-AF65-F5344CB8AC3E}">
        <p14:creationId xmlns:p14="http://schemas.microsoft.com/office/powerpoint/2010/main" val="302828887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455995" y="424543"/>
            <a:ext cx="11306469" cy="621009"/>
          </a:xfrm>
        </p:spPr>
        <p:txBody>
          <a:bodyPr/>
          <a:lstStyle/>
          <a:p>
            <a:r>
              <a:rPr lang="en-US" sz="4400" dirty="0"/>
              <a:t>Call to action</a:t>
            </a:r>
          </a:p>
        </p:txBody>
      </p:sp>
      <p:sp>
        <p:nvSpPr>
          <p:cNvPr id="37" name="Rectangle 36">
            <a:extLst>
              <a:ext uri="{FF2B5EF4-FFF2-40B4-BE49-F238E27FC236}">
                <a16:creationId xmlns:a16="http://schemas.microsoft.com/office/drawing/2014/main" id="{D51FD647-E352-4594-B818-3CDE82FDF004}"/>
              </a:ext>
            </a:extLst>
          </p:cNvPr>
          <p:cNvSpPr/>
          <p:nvPr/>
        </p:nvSpPr>
        <p:spPr>
          <a:xfrm>
            <a:off x="455996" y="1093671"/>
            <a:ext cx="5863144" cy="363946"/>
          </a:xfrm>
          <a:prstGeom prst="rect">
            <a:avLst/>
          </a:prstGeom>
        </p:spPr>
        <p:txBody>
          <a:bodyPr wrap="none" lIns="0">
            <a:spAutoFit/>
          </a:bodyPr>
          <a:lstStyle/>
          <a:p>
            <a:r>
              <a:rPr lang="en-US" sz="1765" dirty="0">
                <a:solidFill>
                  <a:schemeClr val="tx2"/>
                </a:solidFill>
              </a:rPr>
              <a:t>Ensure that your production resources are well governed</a:t>
            </a:r>
          </a:p>
        </p:txBody>
      </p:sp>
      <p:sp>
        <p:nvSpPr>
          <p:cNvPr id="39" name="Rectangle 38">
            <a:extLst>
              <a:ext uri="{FF2B5EF4-FFF2-40B4-BE49-F238E27FC236}">
                <a16:creationId xmlns:a16="http://schemas.microsoft.com/office/drawing/2014/main" id="{A6E194B7-E018-477B-B137-2EF7DD686C0E}"/>
              </a:ext>
            </a:extLst>
          </p:cNvPr>
          <p:cNvSpPr/>
          <p:nvPr/>
        </p:nvSpPr>
        <p:spPr bwMode="auto">
          <a:xfrm>
            <a:off x="3422" y="2422285"/>
            <a:ext cx="12187715" cy="1146528"/>
          </a:xfrm>
          <a:prstGeom prst="rect">
            <a:avLst/>
          </a:prstGeom>
          <a:solidFill>
            <a:schemeClr val="tx2">
              <a:lumMod val="75000"/>
            </a:schemeClr>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40" fontAlgn="base">
              <a:lnSpc>
                <a:spcPct val="90000"/>
              </a:lnSpc>
              <a:spcBef>
                <a:spcPct val="0"/>
              </a:spcBef>
              <a:spcAft>
                <a:spcPct val="0"/>
              </a:spcAft>
            </a:pPr>
            <a:endParaRPr lang="en-US" sz="1961" kern="0" dirty="0">
              <a:solidFill>
                <a:srgbClr val="0078D3"/>
              </a:solidFill>
              <a:latin typeface="Segoe UI Semibold" panose="020B0702040204020203"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C03E414A-6AD9-4591-9638-92F0E2BD0D39}"/>
              </a:ext>
            </a:extLst>
          </p:cNvPr>
          <p:cNvSpPr/>
          <p:nvPr/>
        </p:nvSpPr>
        <p:spPr bwMode="auto">
          <a:xfrm>
            <a:off x="865" y="5022933"/>
            <a:ext cx="12190271" cy="6899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32205">
              <a:lnSpc>
                <a:spcPct val="114000"/>
              </a:lnSpc>
              <a:spcBef>
                <a:spcPts val="288"/>
              </a:spcBef>
              <a:defRPr/>
            </a:pPr>
            <a:r>
              <a:rPr lang="en-US" sz="2400" dirty="0">
                <a:solidFill>
                  <a:schemeClr val="tx1"/>
                </a:solidFill>
                <a:latin typeface="+mj-lt"/>
                <a:cs typeface="Segoe UI" charset="0"/>
              </a:rPr>
              <a:t>Visit Azure.com/governance</a:t>
            </a:r>
          </a:p>
        </p:txBody>
      </p:sp>
      <p:sp>
        <p:nvSpPr>
          <p:cNvPr id="35" name="TextBox 34">
            <a:extLst>
              <a:ext uri="{FF2B5EF4-FFF2-40B4-BE49-F238E27FC236}">
                <a16:creationId xmlns:a16="http://schemas.microsoft.com/office/drawing/2014/main" id="{3C7B0CB0-528D-4745-BAA6-57E5A69E2CE2}"/>
              </a:ext>
            </a:extLst>
          </p:cNvPr>
          <p:cNvSpPr txBox="1"/>
          <p:nvPr/>
        </p:nvSpPr>
        <p:spPr>
          <a:xfrm>
            <a:off x="984650" y="3510933"/>
            <a:ext cx="2877702" cy="1267041"/>
          </a:xfrm>
          <a:prstGeom prst="rect">
            <a:avLst/>
          </a:prstGeom>
          <a:noFill/>
        </p:spPr>
        <p:txBody>
          <a:bodyPr wrap="square" lIns="179285" tIns="143428" rIns="179285" bIns="143428" rtlCol="0">
            <a:spAutoFit/>
          </a:bodyPr>
          <a:lstStyle/>
          <a:p>
            <a:pPr algn="ctr">
              <a:lnSpc>
                <a:spcPts val="3960"/>
              </a:lnSpc>
              <a:spcAft>
                <a:spcPts val="588"/>
              </a:spcAft>
            </a:pPr>
            <a:r>
              <a:rPr lang="en-US" sz="2745" dirty="0">
                <a:solidFill>
                  <a:srgbClr val="002050"/>
                </a:solidFill>
                <a:latin typeface="Segoe UI Semilight"/>
              </a:rPr>
              <a:t>Start using today</a:t>
            </a:r>
          </a:p>
        </p:txBody>
      </p:sp>
      <p:grpSp>
        <p:nvGrpSpPr>
          <p:cNvPr id="36" name="Group 35">
            <a:extLst>
              <a:ext uri="{FF2B5EF4-FFF2-40B4-BE49-F238E27FC236}">
                <a16:creationId xmlns:a16="http://schemas.microsoft.com/office/drawing/2014/main" id="{684862F4-9C7C-4249-9E6B-257BC739D07E}"/>
              </a:ext>
            </a:extLst>
          </p:cNvPr>
          <p:cNvGrpSpPr/>
          <p:nvPr/>
        </p:nvGrpSpPr>
        <p:grpSpPr>
          <a:xfrm>
            <a:off x="2051201" y="2721201"/>
            <a:ext cx="610514" cy="608859"/>
            <a:chOff x="7745382" y="4179584"/>
            <a:chExt cx="216026" cy="215441"/>
          </a:xfrm>
        </p:grpSpPr>
        <p:sp>
          <p:nvSpPr>
            <p:cNvPr id="38" name="Freeform 14">
              <a:extLst>
                <a:ext uri="{FF2B5EF4-FFF2-40B4-BE49-F238E27FC236}">
                  <a16:creationId xmlns:a16="http://schemas.microsoft.com/office/drawing/2014/main" id="{14803EF9-628B-4AE3-A134-BE5F4656A231}"/>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45" name="Freeform 15">
              <a:extLst>
                <a:ext uri="{FF2B5EF4-FFF2-40B4-BE49-F238E27FC236}">
                  <a16:creationId xmlns:a16="http://schemas.microsoft.com/office/drawing/2014/main" id="{4FE9C778-95DF-43B8-806F-8EC51F94A124}"/>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47" name="Freeform 16">
              <a:extLst>
                <a:ext uri="{FF2B5EF4-FFF2-40B4-BE49-F238E27FC236}">
                  <a16:creationId xmlns:a16="http://schemas.microsoft.com/office/drawing/2014/main" id="{F4C415DF-66B7-4B8E-A8EA-042005F60CF1}"/>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grpSp>
      <p:sp>
        <p:nvSpPr>
          <p:cNvPr id="63" name="TextBox 62">
            <a:extLst>
              <a:ext uri="{FF2B5EF4-FFF2-40B4-BE49-F238E27FC236}">
                <a16:creationId xmlns:a16="http://schemas.microsoft.com/office/drawing/2014/main" id="{9AC49D12-8B19-471C-8830-ABA865124753}"/>
              </a:ext>
            </a:extLst>
          </p:cNvPr>
          <p:cNvSpPr txBox="1"/>
          <p:nvPr/>
        </p:nvSpPr>
        <p:spPr>
          <a:xfrm>
            <a:off x="4068872" y="3510934"/>
            <a:ext cx="3342916" cy="1267041"/>
          </a:xfrm>
          <a:prstGeom prst="rect">
            <a:avLst/>
          </a:prstGeom>
          <a:noFill/>
        </p:spPr>
        <p:txBody>
          <a:bodyPr wrap="square" lIns="179285" tIns="143428" rIns="179285" bIns="143428" rtlCol="0">
            <a:spAutoFit/>
          </a:bodyPr>
          <a:lstStyle/>
          <a:p>
            <a:pPr algn="ctr">
              <a:lnSpc>
                <a:spcPts val="3960"/>
              </a:lnSpc>
              <a:spcAft>
                <a:spcPts val="588"/>
              </a:spcAft>
            </a:pPr>
            <a:r>
              <a:rPr lang="en-US" sz="2745" dirty="0">
                <a:solidFill>
                  <a:srgbClr val="002050"/>
                </a:solidFill>
                <a:latin typeface="Segoe UI Semilight"/>
              </a:rPr>
              <a:t>Explore features and capabilities</a:t>
            </a:r>
          </a:p>
        </p:txBody>
      </p:sp>
      <p:sp>
        <p:nvSpPr>
          <p:cNvPr id="64" name="TextBox 63">
            <a:extLst>
              <a:ext uri="{FF2B5EF4-FFF2-40B4-BE49-F238E27FC236}">
                <a16:creationId xmlns:a16="http://schemas.microsoft.com/office/drawing/2014/main" id="{B9FAAC99-C77B-4A58-9416-6B7C91D433B1}"/>
              </a:ext>
            </a:extLst>
          </p:cNvPr>
          <p:cNvSpPr txBox="1"/>
          <p:nvPr/>
        </p:nvSpPr>
        <p:spPr>
          <a:xfrm>
            <a:off x="7646640" y="3510934"/>
            <a:ext cx="3788018" cy="1267041"/>
          </a:xfrm>
          <a:prstGeom prst="rect">
            <a:avLst/>
          </a:prstGeom>
          <a:noFill/>
        </p:spPr>
        <p:txBody>
          <a:bodyPr wrap="square" lIns="179285" tIns="143428" rIns="179285" bIns="143428" rtlCol="0">
            <a:spAutoFit/>
          </a:bodyPr>
          <a:lstStyle/>
          <a:p>
            <a:pPr algn="ctr">
              <a:lnSpc>
                <a:spcPts val="3960"/>
              </a:lnSpc>
              <a:spcAft>
                <a:spcPts val="588"/>
              </a:spcAft>
            </a:pPr>
            <a:r>
              <a:rPr lang="en-US" sz="2745" dirty="0">
                <a:solidFill>
                  <a:srgbClr val="002050"/>
                </a:solidFill>
                <a:latin typeface="Segoe UI Semilight"/>
              </a:rPr>
              <a:t>Most services offered at no additional cost</a:t>
            </a:r>
          </a:p>
        </p:txBody>
      </p:sp>
      <p:grpSp>
        <p:nvGrpSpPr>
          <p:cNvPr id="65" name="Group 64">
            <a:extLst>
              <a:ext uri="{FF2B5EF4-FFF2-40B4-BE49-F238E27FC236}">
                <a16:creationId xmlns:a16="http://schemas.microsoft.com/office/drawing/2014/main" id="{59645AFF-C4C1-4F9C-A3BE-80408192D30B}"/>
              </a:ext>
            </a:extLst>
          </p:cNvPr>
          <p:cNvGrpSpPr/>
          <p:nvPr/>
        </p:nvGrpSpPr>
        <p:grpSpPr>
          <a:xfrm>
            <a:off x="5402623" y="2736092"/>
            <a:ext cx="610514" cy="608859"/>
            <a:chOff x="7745382" y="4179584"/>
            <a:chExt cx="216026" cy="215441"/>
          </a:xfrm>
        </p:grpSpPr>
        <p:sp>
          <p:nvSpPr>
            <p:cNvPr id="66" name="Freeform 14">
              <a:extLst>
                <a:ext uri="{FF2B5EF4-FFF2-40B4-BE49-F238E27FC236}">
                  <a16:creationId xmlns:a16="http://schemas.microsoft.com/office/drawing/2014/main" id="{11A6A9FD-A1BB-4FDB-90EC-1C4AFBEA219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67" name="Freeform 15">
              <a:extLst>
                <a:ext uri="{FF2B5EF4-FFF2-40B4-BE49-F238E27FC236}">
                  <a16:creationId xmlns:a16="http://schemas.microsoft.com/office/drawing/2014/main" id="{A9500EA8-AC58-4D00-9298-97C3D2106360}"/>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68" name="Freeform 16">
              <a:extLst>
                <a:ext uri="{FF2B5EF4-FFF2-40B4-BE49-F238E27FC236}">
                  <a16:creationId xmlns:a16="http://schemas.microsoft.com/office/drawing/2014/main" id="{FA667937-D457-4C05-903B-9F26A051E63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grpSp>
      <p:grpSp>
        <p:nvGrpSpPr>
          <p:cNvPr id="69" name="Group 68">
            <a:extLst>
              <a:ext uri="{FF2B5EF4-FFF2-40B4-BE49-F238E27FC236}">
                <a16:creationId xmlns:a16="http://schemas.microsoft.com/office/drawing/2014/main" id="{8AA90812-2B52-4202-BFE9-CCF9A88DBCF8}"/>
              </a:ext>
            </a:extLst>
          </p:cNvPr>
          <p:cNvGrpSpPr/>
          <p:nvPr/>
        </p:nvGrpSpPr>
        <p:grpSpPr>
          <a:xfrm>
            <a:off x="9143451" y="2750984"/>
            <a:ext cx="610514" cy="608859"/>
            <a:chOff x="7745382" y="4179584"/>
            <a:chExt cx="216026" cy="215441"/>
          </a:xfrm>
        </p:grpSpPr>
        <p:sp>
          <p:nvSpPr>
            <p:cNvPr id="70" name="Freeform 14">
              <a:extLst>
                <a:ext uri="{FF2B5EF4-FFF2-40B4-BE49-F238E27FC236}">
                  <a16:creationId xmlns:a16="http://schemas.microsoft.com/office/drawing/2014/main" id="{D76F20DE-7A5E-4CC6-9062-7D9CE72B5B2B}"/>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71" name="Freeform 15">
              <a:extLst>
                <a:ext uri="{FF2B5EF4-FFF2-40B4-BE49-F238E27FC236}">
                  <a16:creationId xmlns:a16="http://schemas.microsoft.com/office/drawing/2014/main" id="{0A7C0526-B296-49D7-BA1E-BB969B86453A}"/>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sp>
          <p:nvSpPr>
            <p:cNvPr id="72" name="Freeform 16">
              <a:extLst>
                <a:ext uri="{FF2B5EF4-FFF2-40B4-BE49-F238E27FC236}">
                  <a16:creationId xmlns:a16="http://schemas.microsoft.com/office/drawing/2014/main" id="{7EEE9749-05AD-436F-A239-551DA70EEDA2}"/>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solidFill>
              <a:srgbClr val="00188F"/>
            </a:solidFill>
            <a:ln>
              <a:noFill/>
            </a:ln>
            <a:effectLst/>
          </p:spPr>
          <p:txBody>
            <a:bodyPr wrap="none" anchor="ctr"/>
            <a:lstStyle/>
            <a:p>
              <a:pPr defTabSz="896386">
                <a:defRPr/>
              </a:pPr>
              <a:endParaRPr lang="en-US" sz="1765" kern="0">
                <a:solidFill>
                  <a:srgbClr val="353535"/>
                </a:solidFill>
                <a:latin typeface="Segoe UI Semilight"/>
              </a:endParaRPr>
            </a:p>
          </p:txBody>
        </p:sp>
      </p:grpSp>
    </p:spTree>
    <p:extLst>
      <p:ext uri="{BB962C8B-B14F-4D97-AF65-F5344CB8AC3E}">
        <p14:creationId xmlns:p14="http://schemas.microsoft.com/office/powerpoint/2010/main" val="153187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1000"/>
                                        <p:tgtEl>
                                          <p:spTgt spid="39"/>
                                        </p:tgtEl>
                                      </p:cBhvr>
                                    </p:animEffect>
                                  </p:childTnLst>
                                </p:cTn>
                              </p:par>
                            </p:childTnLst>
                          </p:cTn>
                        </p:par>
                        <p:par>
                          <p:cTn id="8" fill="hold">
                            <p:stCondLst>
                              <p:cond delay="1000"/>
                            </p:stCondLst>
                            <p:childTnLst>
                              <p:par>
                                <p:cTn id="9" presetID="2" presetClass="entr" presetSubtype="2" decel="10000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1+#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par>
                                <p:cTn id="16" presetID="10" presetClass="entr" presetSubtype="0" fill="hold" nodeType="with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63" presetClass="path" presetSubtype="0" accel="50000" decel="50000" fill="hold" nodeType="withEffect">
                                  <p:stCondLst>
                                    <p:cond delay="0"/>
                                  </p:stCondLst>
                                  <p:childTnLst>
                                    <p:animMotion origin="layout" path="M -0.04698 -2.39219E-6 L -3.99285E-6 -2.39219E-6 " pathEditMode="relative" rAng="0" ptsTypes="AA">
                                      <p:cBhvr>
                                        <p:cTn id="20" dur="500" fill="hold"/>
                                        <p:tgtEl>
                                          <p:spTgt spid="36"/>
                                        </p:tgtEl>
                                        <p:attrNameLst>
                                          <p:attrName>ppt_x</p:attrName>
                                          <p:attrName>ppt_y</p:attrName>
                                        </p:attrNameLst>
                                      </p:cBhvr>
                                      <p:rCtr x="2349" y="0"/>
                                    </p:animMotion>
                                  </p:childTnLst>
                                </p:cTn>
                              </p:par>
                              <p:par>
                                <p:cTn id="21" presetID="63" presetClass="path" presetSubtype="0" accel="50000" decel="50000" fill="hold" grpId="1" nodeType="withEffect">
                                  <p:stCondLst>
                                    <p:cond delay="0"/>
                                  </p:stCondLst>
                                  <p:childTnLst>
                                    <p:animMotion origin="layout" path="M -0.06038 4.50749E-6 L -2.35384E-6 4.50749E-6 " pathEditMode="relative" rAng="0" ptsTypes="AA">
                                      <p:cBhvr>
                                        <p:cTn id="22" dur="1000" fill="hold"/>
                                        <p:tgtEl>
                                          <p:spTgt spid="35"/>
                                        </p:tgtEl>
                                        <p:attrNameLst>
                                          <p:attrName>ppt_x</p:attrName>
                                          <p:attrName>ppt_y</p:attrName>
                                        </p:attrNameLst>
                                      </p:cBhvr>
                                      <p:rCtr x="3013" y="0"/>
                                    </p:animMotion>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63" presetClass="path" presetSubtype="0" accel="50000" decel="50000" fill="hold" grpId="1" nodeType="withEffect">
                                  <p:stCondLst>
                                    <p:cond delay="0"/>
                                  </p:stCondLst>
                                  <p:childTnLst>
                                    <p:animMotion origin="layout" path="M -0.06038 1.25738E-6 L 3.5665E-6 1.25738E-6 " pathEditMode="relative" rAng="0" ptsTypes="AA">
                                      <p:cBhvr>
                                        <p:cTn id="28" dur="1000" fill="hold"/>
                                        <p:tgtEl>
                                          <p:spTgt spid="63"/>
                                        </p:tgtEl>
                                        <p:attrNameLst>
                                          <p:attrName>ppt_x</p:attrName>
                                          <p:attrName>ppt_y</p:attrName>
                                        </p:attrNameLst>
                                      </p:cBhvr>
                                      <p:rCtr x="3013" y="0"/>
                                    </p:animMotion>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64"/>
                                        </p:tgtEl>
                                        <p:attrNameLst>
                                          <p:attrName>style.visibility</p:attrName>
                                        </p:attrNameLst>
                                      </p:cBhvr>
                                      <p:to>
                                        <p:strVal val="visible"/>
                                      </p:to>
                                    </p:set>
                                    <p:animEffect transition="in" filter="fade">
                                      <p:cBhvr>
                                        <p:cTn id="32" dur="500"/>
                                        <p:tgtEl>
                                          <p:spTgt spid="64"/>
                                        </p:tgtEl>
                                      </p:cBhvr>
                                    </p:animEffect>
                                  </p:childTnLst>
                                </p:cTn>
                              </p:par>
                              <p:par>
                                <p:cTn id="33" presetID="63" presetClass="path" presetSubtype="0" accel="50000" decel="50000" fill="hold" grpId="1" nodeType="withEffect">
                                  <p:stCondLst>
                                    <p:cond delay="0"/>
                                  </p:stCondLst>
                                  <p:childTnLst>
                                    <p:animMotion origin="layout" path="M -0.06038 1.25738E-6 L 3.5665E-6 1.25738E-6 " pathEditMode="relative" rAng="0" ptsTypes="AA">
                                      <p:cBhvr>
                                        <p:cTn id="34" dur="1000" fill="hold"/>
                                        <p:tgtEl>
                                          <p:spTgt spid="64"/>
                                        </p:tgtEl>
                                        <p:attrNameLst>
                                          <p:attrName>ppt_x</p:attrName>
                                          <p:attrName>ppt_y</p:attrName>
                                        </p:attrNameLst>
                                      </p:cBhvr>
                                      <p:rCtr x="3013" y="0"/>
                                    </p:animMotion>
                                  </p:childTnLst>
                                </p:cTn>
                              </p:par>
                              <p:par>
                                <p:cTn id="35" presetID="10" presetClass="entr" presetSubtype="0" fill="hold" nodeType="with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fade">
                                      <p:cBhvr>
                                        <p:cTn id="37" dur="500"/>
                                        <p:tgtEl>
                                          <p:spTgt spid="65"/>
                                        </p:tgtEl>
                                      </p:cBhvr>
                                    </p:animEffect>
                                  </p:childTnLst>
                                </p:cTn>
                              </p:par>
                              <p:par>
                                <p:cTn id="38" presetID="63" presetClass="path" presetSubtype="0" accel="50000" decel="50000" fill="hold" nodeType="withEffect">
                                  <p:stCondLst>
                                    <p:cond delay="0"/>
                                  </p:stCondLst>
                                  <p:childTnLst>
                                    <p:animMotion origin="layout" path="M -0.04698 -2.39219E-6 L -3.99285E-6 -2.39219E-6 " pathEditMode="relative" rAng="0" ptsTypes="AA">
                                      <p:cBhvr>
                                        <p:cTn id="39" dur="500" fill="hold"/>
                                        <p:tgtEl>
                                          <p:spTgt spid="65"/>
                                        </p:tgtEl>
                                        <p:attrNameLst>
                                          <p:attrName>ppt_x</p:attrName>
                                          <p:attrName>ppt_y</p:attrName>
                                        </p:attrNameLst>
                                      </p:cBhvr>
                                      <p:rCtr x="2349" y="0"/>
                                    </p:animMotion>
                                  </p:childTnLst>
                                </p:cTn>
                              </p:par>
                              <p:par>
                                <p:cTn id="40" presetID="10" presetClass="entr" presetSubtype="0" fill="hold" nodeType="withEffect">
                                  <p:stCondLst>
                                    <p:cond delay="0"/>
                                  </p:stCondLst>
                                  <p:childTnLst>
                                    <p:set>
                                      <p:cBhvr>
                                        <p:cTn id="41" dur="1" fill="hold">
                                          <p:stCondLst>
                                            <p:cond delay="0"/>
                                          </p:stCondLst>
                                        </p:cTn>
                                        <p:tgtEl>
                                          <p:spTgt spid="69"/>
                                        </p:tgtEl>
                                        <p:attrNameLst>
                                          <p:attrName>style.visibility</p:attrName>
                                        </p:attrNameLst>
                                      </p:cBhvr>
                                      <p:to>
                                        <p:strVal val="visible"/>
                                      </p:to>
                                    </p:set>
                                    <p:animEffect transition="in" filter="fade">
                                      <p:cBhvr>
                                        <p:cTn id="42" dur="500"/>
                                        <p:tgtEl>
                                          <p:spTgt spid="69"/>
                                        </p:tgtEl>
                                      </p:cBhvr>
                                    </p:animEffect>
                                  </p:childTnLst>
                                </p:cTn>
                              </p:par>
                              <p:par>
                                <p:cTn id="43" presetID="63" presetClass="path" presetSubtype="0" accel="50000" decel="50000" fill="hold" nodeType="withEffect">
                                  <p:stCondLst>
                                    <p:cond delay="0"/>
                                  </p:stCondLst>
                                  <p:childTnLst>
                                    <p:animMotion origin="layout" path="M -0.04698 -2.39219E-6 L -3.99285E-6 -2.39219E-6 " pathEditMode="relative" rAng="0" ptsTypes="AA">
                                      <p:cBhvr>
                                        <p:cTn id="44" dur="500" fill="hold"/>
                                        <p:tgtEl>
                                          <p:spTgt spid="69"/>
                                        </p:tgtEl>
                                        <p:attrNameLst>
                                          <p:attrName>ppt_x</p:attrName>
                                          <p:attrName>ppt_y</p:attrName>
                                        </p:attrNameLst>
                                      </p:cBhvr>
                                      <p:rCtr x="234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27" grpId="0" animBg="1"/>
      <p:bldP spid="35" grpId="0"/>
      <p:bldP spid="35" grpId="1"/>
      <p:bldP spid="63" grpId="0"/>
      <p:bldP spid="63" grpId="1"/>
      <p:bldP spid="64" grpId="0"/>
      <p:bldP spid="64" grpId="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FA27D6D-C399-43B1-BC64-56FA731B0E35}"/>
              </a:ext>
            </a:extLst>
          </p:cNvPr>
          <p:cNvSpPr>
            <a:spLocks noGrp="1"/>
          </p:cNvSpPr>
          <p:nvPr>
            <p:ph type="title"/>
          </p:nvPr>
        </p:nvSpPr>
        <p:spPr/>
        <p:txBody>
          <a:bodyPr>
            <a:normAutofit/>
          </a:bodyPr>
          <a:lstStyle/>
          <a:p>
            <a:r>
              <a:rPr lang="en-US" sz="5400" dirty="0"/>
              <a:t>Thank you!</a:t>
            </a:r>
          </a:p>
        </p:txBody>
      </p:sp>
    </p:spTree>
    <p:extLst>
      <p:ext uri="{BB962C8B-B14F-4D97-AF65-F5344CB8AC3E}">
        <p14:creationId xmlns:p14="http://schemas.microsoft.com/office/powerpoint/2010/main" val="244972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2A29EE-8DF9-499E-B067-28E4CBC6D0CA}"/>
              </a:ext>
            </a:extLst>
          </p:cNvPr>
          <p:cNvSpPr>
            <a:spLocks noGrp="1"/>
          </p:cNvSpPr>
          <p:nvPr>
            <p:ph type="title"/>
          </p:nvPr>
        </p:nvSpPr>
        <p:spPr/>
        <p:txBody>
          <a:bodyPr/>
          <a:lstStyle/>
          <a:p>
            <a:r>
              <a:rPr lang="en-US" dirty="0"/>
              <a:t>What is Governance?</a:t>
            </a:r>
          </a:p>
        </p:txBody>
      </p:sp>
      <p:pic>
        <p:nvPicPr>
          <p:cNvPr id="13" name="Picture 12">
            <a:extLst>
              <a:ext uri="{FF2B5EF4-FFF2-40B4-BE49-F238E27FC236}">
                <a16:creationId xmlns:a16="http://schemas.microsoft.com/office/drawing/2014/main" id="{87A2965E-EC96-4FA8-9B80-1F8C09F5BC92}"/>
              </a:ext>
            </a:extLst>
          </p:cNvPr>
          <p:cNvPicPr>
            <a:picLocks noChangeAspect="1"/>
          </p:cNvPicPr>
          <p:nvPr/>
        </p:nvPicPr>
        <p:blipFill rotWithShape="1">
          <a:blip r:embed="rId3"/>
          <a:srcRect l="5955" t="4798" r="8798" b="8463"/>
          <a:stretch/>
        </p:blipFill>
        <p:spPr>
          <a:xfrm>
            <a:off x="4953001" y="1382486"/>
            <a:ext cx="5704114" cy="5127172"/>
          </a:xfrm>
          <a:prstGeom prst="rect">
            <a:avLst/>
          </a:prstGeom>
        </p:spPr>
      </p:pic>
    </p:spTree>
    <p:extLst>
      <p:ext uri="{BB962C8B-B14F-4D97-AF65-F5344CB8AC3E}">
        <p14:creationId xmlns:p14="http://schemas.microsoft.com/office/powerpoint/2010/main" val="34512640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extLst>
              <p:ext uri="{D42A27DB-BD31-4B8C-83A1-F6EECF244321}">
                <p14:modId xmlns:p14="http://schemas.microsoft.com/office/powerpoint/2010/main" val="3125936803"/>
              </p:ext>
            </p:extLst>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535249" y="445316"/>
            <a:ext cx="8799471" cy="928289"/>
          </a:xfrm>
        </p:spPr>
        <p:txBody>
          <a:bodyPr/>
          <a:lstStyle/>
          <a:p>
            <a:r>
              <a:rPr lang="en-US" dirty="0"/>
              <a:t>Governance Tools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7655502" y="3314527"/>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chemeClr val="tx1"/>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535246" y="3300998"/>
            <a:ext cx="2303810" cy="1411316"/>
            <a:chOff x="9233315" y="3321485"/>
            <a:chExt cx="2304138"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04138" cy="76029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Enrollment</a:t>
              </a:r>
            </a:p>
            <a:p>
              <a:pPr algn="l" defTabSz="914192">
                <a:defRPr/>
              </a:pPr>
              <a:r>
                <a:rPr lang="en-US" b="0" dirty="0">
                  <a:solidFill>
                    <a:schemeClr val="tx1"/>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a:cxnSpLocks/>
            </p:cNvCxnSpPr>
            <p:nvPr/>
          </p:nvCxnSpPr>
          <p:spPr>
            <a:xfrm>
              <a:off x="9302765" y="4059258"/>
              <a:ext cx="2086215" cy="22517"/>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963732" y="2400257"/>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2179596" cy="1510792"/>
              <a:chOff x="9092926" y="1650386"/>
              <a:chExt cx="217959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2110146" cy="594120"/>
                <a:chOff x="9302765" y="3323599"/>
                <a:chExt cx="211014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2110146" cy="434000"/>
                </a:xfrm>
                <a:prstGeom prst="rect">
                  <a:avLst/>
                </a:prstGeom>
                <a:noFill/>
                <a:ln>
                  <a:noFill/>
                </a:ln>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Cost Managemen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a:ln>
              <a:noFill/>
            </a:ln>
          </p:spPr>
          <p:txBody>
            <a:bodyPr wrap="square" lIns="91427" tIns="91427" rIns="91427" bIns="91427" rtlCol="0">
              <a:spAutoFit/>
            </a:bodyPr>
            <a:lstStyle/>
            <a:p>
              <a:pPr defTabSz="932205">
                <a:lnSpc>
                  <a:spcPct val="114000"/>
                </a:lnSpc>
                <a:spcBef>
                  <a:spcPts val="288"/>
                </a:spcBef>
                <a:defRPr/>
              </a:pPr>
              <a:r>
                <a:rPr lang="en-US" sz="1600" dirty="0">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2992921" y="3314527"/>
            <a:ext cx="2094637" cy="1553734"/>
            <a:chOff x="588263" y="3321485"/>
            <a:chExt cx="2094934" cy="15539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766639" cy="43400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dirty="0">
                  <a:solidFill>
                    <a:schemeClr val="tx1"/>
                  </a:solidFill>
                  <a:latin typeface="Segoe UI Semibold"/>
                </a:rPr>
                <a:t>RBAC</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862832"/>
            </a:xfrm>
            <a:prstGeom prst="rect">
              <a:avLst/>
            </a:prstGeom>
            <a:noFill/>
          </p:spPr>
          <p:txBody>
            <a:bodyPr wrap="square" lIns="91427" tIns="91427" rIns="91427" bIns="91427" rtlCol="0">
              <a:spAutoFit/>
            </a:bodyPr>
            <a:lstStyle/>
            <a:p>
              <a:pPr defTabSz="950938">
                <a:lnSpc>
                  <a:spcPct val="90000"/>
                </a:lnSpc>
                <a:defRPr/>
              </a:pPr>
              <a:r>
                <a:rPr lang="en-US" sz="1600" dirty="0">
                  <a:latin typeface="Segoe UI" charset="0"/>
                  <a:cs typeface="Segoe UI" charset="0"/>
                </a:rPr>
                <a:t>Fine-grained access management of Azure resources</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249" y="2362747"/>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9101" y="2394596"/>
            <a:ext cx="1045424" cy="1045424"/>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5791" y="2356186"/>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10021481" y="2548065"/>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2992921"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
        <p:nvSpPr>
          <p:cNvPr id="43" name="TextBox 42">
            <a:extLst>
              <a:ext uri="{FF2B5EF4-FFF2-40B4-BE49-F238E27FC236}">
                <a16:creationId xmlns:a16="http://schemas.microsoft.com/office/drawing/2014/main" id="{411B0740-B1A2-4BE3-983C-26F10E2093FF}"/>
              </a:ext>
            </a:extLst>
          </p:cNvPr>
          <p:cNvSpPr txBox="1"/>
          <p:nvPr/>
        </p:nvSpPr>
        <p:spPr>
          <a:xfrm>
            <a:off x="768547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921331" y="571287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95967" y="5701456"/>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6096000" y="6451378"/>
            <a:ext cx="6066848" cy="276999"/>
          </a:xfrm>
          <a:prstGeom prst="rect">
            <a:avLst/>
          </a:prstGeom>
          <a:noFill/>
        </p:spPr>
        <p:txBody>
          <a:bodyPr wrap="square" lIns="0" tIns="0" rIns="0" bIns="0" rtlCol="0">
            <a:spAutoFit/>
          </a:bodyPr>
          <a:lstStyle/>
          <a:p>
            <a:pPr defTabSz="914367"/>
            <a:r>
              <a:rPr lang="en-US" dirty="0">
                <a:latin typeface="Segoe UI"/>
              </a:rPr>
              <a:t>https://docs.microsoft.com/en-us/azure/cost-management/</a:t>
            </a:r>
          </a:p>
        </p:txBody>
      </p:sp>
      <p:grpSp>
        <p:nvGrpSpPr>
          <p:cNvPr id="46" name="Group 45">
            <a:extLst>
              <a:ext uri="{FF2B5EF4-FFF2-40B4-BE49-F238E27FC236}">
                <a16:creationId xmlns:a16="http://schemas.microsoft.com/office/drawing/2014/main" id="{E94DB9B4-823A-4B85-A244-A8F4A23B4439}"/>
              </a:ext>
            </a:extLst>
          </p:cNvPr>
          <p:cNvGrpSpPr/>
          <p:nvPr/>
        </p:nvGrpSpPr>
        <p:grpSpPr>
          <a:xfrm>
            <a:off x="5300692" y="3314527"/>
            <a:ext cx="2094637" cy="2282773"/>
            <a:chOff x="588263" y="3321485"/>
            <a:chExt cx="2094934" cy="2283096"/>
          </a:xfrm>
        </p:grpSpPr>
        <p:sp>
          <p:nvSpPr>
            <p:cNvPr id="47" name="TextBox 46">
              <a:extLst>
                <a:ext uri="{FF2B5EF4-FFF2-40B4-BE49-F238E27FC236}">
                  <a16:creationId xmlns:a16="http://schemas.microsoft.com/office/drawing/2014/main" id="{0F29D975-41E3-4912-A773-1AF26E4B0E17}"/>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chemeClr val="tx1"/>
                  </a:solidFill>
                  <a:latin typeface="Segoe UI Semibold"/>
                </a:rPr>
                <a:t>Policy</a:t>
              </a:r>
            </a:p>
          </p:txBody>
        </p:sp>
        <p:sp>
          <p:nvSpPr>
            <p:cNvPr id="48" name="TextBox 47">
              <a:extLst>
                <a:ext uri="{FF2B5EF4-FFF2-40B4-BE49-F238E27FC236}">
                  <a16:creationId xmlns:a16="http://schemas.microsoft.com/office/drawing/2014/main" id="{832C512A-2466-4DEA-B71F-3A22EB9819F4}"/>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latin typeface="Segoe UI" charset="0"/>
                  <a:cs typeface="Segoe UI" charset="0"/>
                </a:rPr>
                <a:t>Real-time enforcement, compliance assessment and remediation</a:t>
              </a:r>
            </a:p>
          </p:txBody>
        </p:sp>
        <p:cxnSp>
          <p:nvCxnSpPr>
            <p:cNvPr id="49" name="Straight Connector 48">
              <a:extLst>
                <a:ext uri="{FF2B5EF4-FFF2-40B4-BE49-F238E27FC236}">
                  <a16:creationId xmlns:a16="http://schemas.microsoft.com/office/drawing/2014/main" id="{680CCF4F-7146-4750-BE05-86CF2B9927AB}"/>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0" name="Graphic 49">
            <a:extLst>
              <a:ext uri="{FF2B5EF4-FFF2-40B4-BE49-F238E27FC236}">
                <a16:creationId xmlns:a16="http://schemas.microsoft.com/office/drawing/2014/main" id="{2612D4C5-8439-45D1-9BB2-7D9F79D30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3562" y="2356186"/>
            <a:ext cx="1011259" cy="1011259"/>
          </a:xfrm>
          <a:prstGeom prst="rect">
            <a:avLst/>
          </a:prstGeom>
        </p:spPr>
      </p:pic>
      <p:sp>
        <p:nvSpPr>
          <p:cNvPr id="51" name="TextBox 50">
            <a:extLst>
              <a:ext uri="{FF2B5EF4-FFF2-40B4-BE49-F238E27FC236}">
                <a16:creationId xmlns:a16="http://schemas.microsoft.com/office/drawing/2014/main" id="{DF4527B0-2E3A-41C3-B0B4-FA79324BA8D2}"/>
              </a:ext>
            </a:extLst>
          </p:cNvPr>
          <p:cNvSpPr txBox="1"/>
          <p:nvPr/>
        </p:nvSpPr>
        <p:spPr>
          <a:xfrm>
            <a:off x="5300692" y="5727675"/>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latin typeface="Segoe UI" charset="0"/>
                <a:cs typeface="Segoe UI" charset="0"/>
              </a:rPr>
              <a:t>Control</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8.xml.rels><?xml version="1.0" encoding="UTF-8" standalone="yes"?>
<Relationships xmlns="http://schemas.openxmlformats.org/package/2006/relationships"><Relationship Id="rId1" Type="http://schemas.openxmlformats.org/officeDocument/2006/relationships/image" Target="../media/image39.jpeg"/></Relationships>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8.xml><?xml version="1.0" encoding="utf-8"?>
<a:theme xmlns:a="http://schemas.openxmlformats.org/drawingml/2006/main" name="Banded">
  <a:themeElements>
    <a:clrScheme name="Banded">
      <a:dk1>
        <a:srgbClr val="2C2C2C"/>
      </a:dk1>
      <a:lt1>
        <a:srgbClr val="FFFFFF"/>
      </a:lt1>
      <a:dk2>
        <a:srgbClr val="606060"/>
      </a:dk2>
      <a:lt2>
        <a:srgbClr val="EDEDED"/>
      </a:lt2>
      <a:accent1>
        <a:srgbClr val="FFC000"/>
      </a:accent1>
      <a:accent2>
        <a:srgbClr val="A5D028"/>
      </a:accent2>
      <a:accent3>
        <a:srgbClr val="0CC978"/>
      </a:accent3>
      <a:accent4>
        <a:srgbClr val="099BDD"/>
      </a:accent4>
      <a:accent5>
        <a:srgbClr val="47BFCD"/>
      </a:accent5>
      <a:accent6>
        <a:srgbClr val="DD7C15"/>
      </a:accent6>
      <a:hlink>
        <a:srgbClr val="FF9933"/>
      </a:hlink>
      <a:folHlink>
        <a:srgbClr val="B2B2B2"/>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B1D2DA32-AC8B-4194-BF85-FF4A5B40EB5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22459303-e5f0-43ec-a10b-5dc91dda32b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0201A98FE904849808FEE9B66CCD3A4" ma:contentTypeVersion="10" ma:contentTypeDescription="Create a new document." ma:contentTypeScope="" ma:versionID="fbb9f0d5852dd8b72b0305aee1998c91">
  <xsd:schema xmlns:xsd="http://www.w3.org/2001/XMLSchema" xmlns:xs="http://www.w3.org/2001/XMLSchema" xmlns:p="http://schemas.microsoft.com/office/2006/metadata/properties" xmlns:ns2="22459303-e5f0-43ec-a10b-5dc91dda32bf" targetNamespace="http://schemas.microsoft.com/office/2006/metadata/properties" ma:root="true" ma:fieldsID="8270cc63ab9856ff9f563828eb4138d5" ns2:_="">
    <xsd:import namespace="22459303-e5f0-43ec-a10b-5dc91dda32b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459303-e5f0-43ec-a10b-5dc91dda32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fals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2.xml><?xml version="1.0" encoding="utf-8"?>
<ds:datastoreItem xmlns:ds="http://schemas.openxmlformats.org/officeDocument/2006/customXml" ds:itemID="{D6DC45E8-047B-402C-B2BB-472F0072F98B}">
  <ds:schemaRefs>
    <ds:schemaRef ds:uri="http://purl.org/dc/elements/1.1/"/>
    <ds:schemaRef ds:uri="http://purl.org/dc/terms/"/>
    <ds:schemaRef ds:uri="http://purl.org/dc/dcmitype/"/>
    <ds:schemaRef ds:uri="http://schemas.microsoft.com/office/2006/metadata/properties"/>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22459303-e5f0-43ec-a10b-5dc91dda32bf"/>
  </ds:schemaRefs>
</ds:datastoreItem>
</file>

<file path=customXml/itemProps3.xml><?xml version="1.0" encoding="utf-8"?>
<ds:datastoreItem xmlns:ds="http://schemas.openxmlformats.org/officeDocument/2006/customXml" ds:itemID="{26E09655-AE2E-40DE-BB62-E65A981F63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459303-e5f0-43ec-a10b-5dc91dda32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65</TotalTime>
  <Words>7267</Words>
  <Application>Microsoft Office PowerPoint</Application>
  <PresentationFormat>Widescreen</PresentationFormat>
  <Paragraphs>956</Paragraphs>
  <Slides>65</Slides>
  <Notes>32</Notes>
  <HiddenSlides>1</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65</vt:i4>
      </vt:variant>
    </vt:vector>
  </HeadingPairs>
  <TitlesOfParts>
    <vt:vector size="91" baseType="lpstr">
      <vt:lpstr>Arial</vt:lpstr>
      <vt:lpstr>Arial Nova</vt:lpstr>
      <vt:lpstr>Calibri</vt:lpstr>
      <vt:lpstr>Calibri Light</vt:lpstr>
      <vt:lpstr>Consolas</vt:lpstr>
      <vt:lpstr>Corbel</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5-50195_Microsoft_Build_Template</vt:lpstr>
      <vt:lpstr>Banded</vt:lpstr>
      <vt:lpstr>think-cell Slide</vt:lpstr>
      <vt:lpstr>For the Presenter</vt:lpstr>
      <vt:lpstr> Ensuring well-governed  Azure environments</vt:lpstr>
      <vt:lpstr>Agenda</vt:lpstr>
      <vt:lpstr>Logistics</vt:lpstr>
      <vt:lpstr>Subscription sETUP</vt:lpstr>
      <vt:lpstr>Agenda</vt:lpstr>
      <vt:lpstr>What is Governance?</vt:lpstr>
      <vt:lpstr>Why is Governance needed?</vt:lpstr>
      <vt:lpstr>Governance Tools for the cloud </vt:lpstr>
      <vt:lpstr>PowerPoint Presentation</vt:lpstr>
      <vt:lpstr>PowerPoint Presentation</vt:lpstr>
      <vt:lpstr>Governance Tools for the cloud </vt:lpstr>
      <vt:lpstr>Starting at the top…..</vt:lpstr>
      <vt:lpstr>Making Choices….</vt:lpstr>
      <vt:lpstr>Making Choices….</vt:lpstr>
      <vt:lpstr>Department/Account Setup Options</vt:lpstr>
      <vt:lpstr>Begin with the EA Portal….</vt:lpstr>
      <vt:lpstr>Azure Management Groups</vt:lpstr>
      <vt:lpstr>For comparison, look at Windows Active Directory</vt:lpstr>
      <vt:lpstr>Management Groups for Enterprises</vt:lpstr>
      <vt:lpstr>Management Groups (MG)</vt:lpstr>
      <vt:lpstr>Use Management Groups to organize subscriptions </vt:lpstr>
      <vt:lpstr>Management Group Limits</vt:lpstr>
      <vt:lpstr>Root Management Group Idiosyncrasies</vt:lpstr>
      <vt:lpstr>Demo</vt:lpstr>
      <vt:lpstr>PowerPoint Presentation</vt:lpstr>
      <vt:lpstr>Agenda</vt:lpstr>
      <vt:lpstr>Governance Tools for the cloud </vt:lpstr>
      <vt:lpstr>Azure Role-Based Access Control (RBAC)</vt:lpstr>
      <vt:lpstr>Azure Role-based Access (RBAC)</vt:lpstr>
      <vt:lpstr>Resource LockS</vt:lpstr>
      <vt:lpstr>Demo</vt:lpstr>
      <vt:lpstr>Governance Tools for the cloud </vt:lpstr>
      <vt:lpstr>Azure Policy</vt:lpstr>
      <vt:lpstr>How does it work?</vt:lpstr>
      <vt:lpstr>Azure Policy</vt:lpstr>
      <vt:lpstr>Order of Evaluation</vt:lpstr>
      <vt:lpstr>Enforce VM SKUs of basic A series</vt:lpstr>
      <vt:lpstr>Commonly Implemented Policies</vt:lpstr>
      <vt:lpstr>Azure Policy versus RBAC</vt:lpstr>
      <vt:lpstr>Demo</vt:lpstr>
      <vt:lpstr>PowerPoint Presentation</vt:lpstr>
      <vt:lpstr>Agenda</vt:lpstr>
      <vt:lpstr>Governance Tools for the cloud , </vt:lpstr>
      <vt:lpstr>Azure Blueprints solution</vt:lpstr>
      <vt:lpstr>Azure Blueprints</vt:lpstr>
      <vt:lpstr>How it works</vt:lpstr>
      <vt:lpstr>Demo</vt:lpstr>
      <vt:lpstr>PowerPoint Presentation</vt:lpstr>
      <vt:lpstr>Agenda</vt:lpstr>
      <vt:lpstr>Governance Tools for the cloud </vt:lpstr>
      <vt:lpstr>Azure Cost Management Built into Azure</vt:lpstr>
      <vt:lpstr>together in Azure Portal!</vt:lpstr>
      <vt:lpstr>Cost Analysis</vt:lpstr>
      <vt:lpstr>Export Data</vt:lpstr>
      <vt:lpstr>Power BI Content Pack</vt:lpstr>
      <vt:lpstr>Cost Management support for Cross Cloud - AWS</vt:lpstr>
      <vt:lpstr>Tags add context for cost analysis</vt:lpstr>
      <vt:lpstr>Budgets for monitoring and notifications </vt:lpstr>
      <vt:lpstr>Cost optimization</vt:lpstr>
      <vt:lpstr>Demo</vt:lpstr>
      <vt:lpstr>PowerPoint Presentation</vt:lpstr>
      <vt:lpstr>Agenda</vt:lpstr>
      <vt:lpstr>Call to ac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 the Presenter</dc:title>
  <dc:creator>Nicole Welch</dc:creator>
  <cp:lastModifiedBy>Nicole Welch</cp:lastModifiedBy>
  <cp:revision>1</cp:revision>
  <dcterms:created xsi:type="dcterms:W3CDTF">2019-10-16T18:02:56Z</dcterms:created>
  <dcterms:modified xsi:type="dcterms:W3CDTF">2019-10-23T18:5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201A98FE904849808FEE9B66CCD3A4</vt:lpwstr>
  </property>
</Properties>
</file>